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5" r:id="rId5"/>
  </p:sldMasterIdLst>
  <p:notesMasterIdLst>
    <p:notesMasterId r:id="rId10"/>
  </p:notesMasterIdLst>
  <p:sldIdLst>
    <p:sldId id="264" r:id="rId6"/>
    <p:sldId id="337" r:id="rId7"/>
    <p:sldId id="338" r:id="rId8"/>
    <p:sldId id="342" r:id="rId9"/>
  </p:sldIdLst>
  <p:sldSz cx="12192000" cy="6858000"/>
  <p:notesSz cx="6858000" cy="91440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gora PPT templates" id="{3438F002-1C66-4998-84B6-51EA828092B2}">
          <p14:sldIdLst/>
        </p14:section>
        <p14:section name="PPT quick guide" id="{11AC1F3B-4277-4FC5-BEBD-A6373A990900}">
          <p14:sldIdLst/>
        </p14:section>
        <p14:section name="Slide deck template" id="{584CFF5F-79FF-4270-8762-5C5460CB2BDE}">
          <p14:sldIdLst>
            <p14:sldId id="264"/>
            <p14:sldId id="337"/>
            <p14:sldId id="338"/>
            <p14:sldId id="342"/>
          </p14:sldIdLst>
        </p14:section>
        <p14:section name="Presentation template" id="{4DCC4E90-CC93-4168-8225-849804E7F9F3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E22550B-8B7B-CFF9-4F70-F6D02F2AA065}" name="Alexandra Steinhardt" initials="AS" userId="S::a.steinhardt@agora-thinktanks.org::7e3b1e2b-0fba-4aea-95cc-8a72146ee3e7" providerId="AD"/>
  <p188:author id="{C01C0FB7-D111-B5C2-A63A-D87A05EA9EF5}" name="Maia Haru Hall" initials="MH" userId="S::maiaharu.hall@agora-thinktanks.org::36c528a2-2d77-45e3-aff8-4fbf7d2283b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DAB4"/>
    <a:srgbClr val="F6EFE3"/>
    <a:srgbClr val="FFF7E1"/>
    <a:srgbClr val="FBF8F3"/>
    <a:srgbClr val="DCD1DD"/>
    <a:srgbClr val="DBD2DC"/>
    <a:srgbClr val="F8F8F8"/>
    <a:srgbClr val="AD86B0"/>
    <a:srgbClr val="F1EDF2"/>
    <a:srgbClr val="8393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D30665F-8AE5-4358-A4BF-410B2382B916}" v="13" dt="2026-05-28T06:14:11.26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6" autoAdjust="0"/>
    <p:restoredTop sz="94667" autoAdjust="0"/>
  </p:normalViewPr>
  <p:slideViewPr>
    <p:cSldViewPr snapToGrid="0">
      <p:cViewPr varScale="1">
        <p:scale>
          <a:sx n="59" d="100"/>
          <a:sy n="59" d="100"/>
        </p:scale>
        <p:origin x="964" y="52"/>
      </p:cViewPr>
      <p:guideLst/>
    </p:cSldViewPr>
  </p:slideViewPr>
  <p:outlineViewPr>
    <p:cViewPr>
      <p:scale>
        <a:sx n="33" d="100"/>
        <a:sy n="33" d="100"/>
      </p:scale>
      <p:origin x="0" y="-154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92" d="100"/>
          <a:sy n="92" d="100"/>
        </p:scale>
        <p:origin x="4114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m Hollander" userId="3c27868c-0a83-4796-8e73-928aedf90492" providerId="ADAL" clId="{5CBF05AC-E070-4783-A19A-6BC3B3D7C0FB}"/>
    <pc:docChg chg="undo custSel addSld delSld modSld sldOrd modSection">
      <pc:chgData name="Tom Hollander" userId="3c27868c-0a83-4796-8e73-928aedf90492" providerId="ADAL" clId="{5CBF05AC-E070-4783-A19A-6BC3B3D7C0FB}" dt="2026-05-28T06:17:51.661" v="1575" actId="47"/>
      <pc:docMkLst>
        <pc:docMk/>
      </pc:docMkLst>
      <pc:sldChg chg="modSp mod">
        <pc:chgData name="Tom Hollander" userId="3c27868c-0a83-4796-8e73-928aedf90492" providerId="ADAL" clId="{5CBF05AC-E070-4783-A19A-6BC3B3D7C0FB}" dt="2026-05-28T06:11:20.312" v="1567" actId="20577"/>
        <pc:sldMkLst>
          <pc:docMk/>
          <pc:sldMk cId="3453466907" sldId="264"/>
        </pc:sldMkLst>
        <pc:spChg chg="mod">
          <ac:chgData name="Tom Hollander" userId="3c27868c-0a83-4796-8e73-928aedf90492" providerId="ADAL" clId="{5CBF05AC-E070-4783-A19A-6BC3B3D7C0FB}" dt="2026-05-26T10:20:06.028" v="123"/>
          <ac:spMkLst>
            <pc:docMk/>
            <pc:sldMk cId="3453466907" sldId="264"/>
            <ac:spMk id="2" creationId="{DE111744-87C3-D1AA-CDD0-73A6505570AF}"/>
          </ac:spMkLst>
        </pc:spChg>
        <pc:spChg chg="mod">
          <ac:chgData name="Tom Hollander" userId="3c27868c-0a83-4796-8e73-928aedf90492" providerId="ADAL" clId="{5CBF05AC-E070-4783-A19A-6BC3B3D7C0FB}" dt="2026-05-28T06:11:20.312" v="1567" actId="20577"/>
          <ac:spMkLst>
            <pc:docMk/>
            <pc:sldMk cId="3453466907" sldId="264"/>
            <ac:spMk id="3" creationId="{4D3D2549-7359-CCF6-C71A-8836553B3886}"/>
          </ac:spMkLst>
        </pc:spChg>
        <pc:spChg chg="mod">
          <ac:chgData name="Tom Hollander" userId="3c27868c-0a83-4796-8e73-928aedf90492" providerId="ADAL" clId="{5CBF05AC-E070-4783-A19A-6BC3B3D7C0FB}" dt="2026-05-26T10:20:52.414" v="177" actId="20577"/>
          <ac:spMkLst>
            <pc:docMk/>
            <pc:sldMk cId="3453466907" sldId="264"/>
            <ac:spMk id="36" creationId="{670063F1-F66F-6A30-F9DF-C246FF026FEC}"/>
          </ac:spMkLst>
        </pc:spChg>
        <pc:spChg chg="mod">
          <ac:chgData name="Tom Hollander" userId="3c27868c-0a83-4796-8e73-928aedf90492" providerId="ADAL" clId="{5CBF05AC-E070-4783-A19A-6BC3B3D7C0FB}" dt="2026-05-26T10:21:03.080" v="196" actId="20577"/>
          <ac:spMkLst>
            <pc:docMk/>
            <pc:sldMk cId="3453466907" sldId="264"/>
            <ac:spMk id="37" creationId="{BC45214F-0D4A-6385-D3F0-B9B40D0C79A6}"/>
          </ac:spMkLst>
        </pc:spChg>
      </pc:sldChg>
      <pc:sldChg chg="del">
        <pc:chgData name="Tom Hollander" userId="3c27868c-0a83-4796-8e73-928aedf90492" providerId="ADAL" clId="{5CBF05AC-E070-4783-A19A-6BC3B3D7C0FB}" dt="2026-05-28T06:17:51.661" v="1575" actId="47"/>
        <pc:sldMkLst>
          <pc:docMk/>
          <pc:sldMk cId="1489701279" sldId="285"/>
        </pc:sldMkLst>
      </pc:sldChg>
      <pc:sldChg chg="del">
        <pc:chgData name="Tom Hollander" userId="3c27868c-0a83-4796-8e73-928aedf90492" providerId="ADAL" clId="{5CBF05AC-E070-4783-A19A-6BC3B3D7C0FB}" dt="2026-05-26T10:10:27.749" v="1" actId="47"/>
        <pc:sldMkLst>
          <pc:docMk/>
          <pc:sldMk cId="1135781559" sldId="328"/>
        </pc:sldMkLst>
      </pc:sldChg>
      <pc:sldChg chg="del">
        <pc:chgData name="Tom Hollander" userId="3c27868c-0a83-4796-8e73-928aedf90492" providerId="ADAL" clId="{5CBF05AC-E070-4783-A19A-6BC3B3D7C0FB}" dt="2026-05-26T10:11:24.864" v="6" actId="47"/>
        <pc:sldMkLst>
          <pc:docMk/>
          <pc:sldMk cId="3435973841" sldId="331"/>
        </pc:sldMkLst>
      </pc:sldChg>
      <pc:sldChg chg="del">
        <pc:chgData name="Tom Hollander" userId="3c27868c-0a83-4796-8e73-928aedf90492" providerId="ADAL" clId="{5CBF05AC-E070-4783-A19A-6BC3B3D7C0FB}" dt="2026-05-26T10:10:19.875" v="0" actId="47"/>
        <pc:sldMkLst>
          <pc:docMk/>
          <pc:sldMk cId="3830516478" sldId="336"/>
        </pc:sldMkLst>
      </pc:sldChg>
      <pc:sldChg chg="addSp delSp modSp mod modAnim">
        <pc:chgData name="Tom Hollander" userId="3c27868c-0a83-4796-8e73-928aedf90492" providerId="ADAL" clId="{5CBF05AC-E070-4783-A19A-6BC3B3D7C0FB}" dt="2026-05-28T06:12:05.849" v="1570"/>
        <pc:sldMkLst>
          <pc:docMk/>
          <pc:sldMk cId="4001322980" sldId="337"/>
        </pc:sldMkLst>
        <pc:spChg chg="mod">
          <ac:chgData name="Tom Hollander" userId="3c27868c-0a83-4796-8e73-928aedf90492" providerId="ADAL" clId="{5CBF05AC-E070-4783-A19A-6BC3B3D7C0FB}" dt="2026-05-26T10:33:07.101" v="658" actId="20577"/>
          <ac:spMkLst>
            <pc:docMk/>
            <pc:sldMk cId="4001322980" sldId="337"/>
            <ac:spMk id="9" creationId="{ABC11FF0-00F4-C4EE-D3D0-4C69DEF7844A}"/>
          </ac:spMkLst>
        </pc:spChg>
        <pc:spChg chg="mod">
          <ac:chgData name="Tom Hollander" userId="3c27868c-0a83-4796-8e73-928aedf90492" providerId="ADAL" clId="{5CBF05AC-E070-4783-A19A-6BC3B3D7C0FB}" dt="2026-05-26T11:02:05.261" v="1561" actId="27636"/>
          <ac:spMkLst>
            <pc:docMk/>
            <pc:sldMk cId="4001322980" sldId="337"/>
            <ac:spMk id="21" creationId="{C366B971-05AB-C486-2C98-2C95EBFB204C}"/>
          </ac:spMkLst>
        </pc:spChg>
      </pc:sldChg>
      <pc:sldChg chg="modSp add del mod ord modAnim">
        <pc:chgData name="Tom Hollander" userId="3c27868c-0a83-4796-8e73-928aedf90492" providerId="ADAL" clId="{5CBF05AC-E070-4783-A19A-6BC3B3D7C0FB}" dt="2026-05-28T06:13:17.605" v="1572"/>
        <pc:sldMkLst>
          <pc:docMk/>
          <pc:sldMk cId="1619254565" sldId="338"/>
        </pc:sldMkLst>
        <pc:spChg chg="mod">
          <ac:chgData name="Tom Hollander" userId="3c27868c-0a83-4796-8e73-928aedf90492" providerId="ADAL" clId="{5CBF05AC-E070-4783-A19A-6BC3B3D7C0FB}" dt="2026-05-26T10:22:41.291" v="226" actId="20577"/>
          <ac:spMkLst>
            <pc:docMk/>
            <pc:sldMk cId="1619254565" sldId="338"/>
            <ac:spMk id="7" creationId="{2F0EF166-9FC3-E4D5-EB74-7A7E44BB6A49}"/>
          </ac:spMkLst>
        </pc:spChg>
        <pc:spChg chg="mod">
          <ac:chgData name="Tom Hollander" userId="3c27868c-0a83-4796-8e73-928aedf90492" providerId="ADAL" clId="{5CBF05AC-E070-4783-A19A-6BC3B3D7C0FB}" dt="2026-05-26T11:02:21.054" v="1565" actId="255"/>
          <ac:spMkLst>
            <pc:docMk/>
            <pc:sldMk cId="1619254565" sldId="338"/>
            <ac:spMk id="8" creationId="{0A94D1A7-9850-6D0F-5820-D8EA78DA2FE4}"/>
          </ac:spMkLst>
        </pc:spChg>
      </pc:sldChg>
      <pc:sldChg chg="del">
        <pc:chgData name="Tom Hollander" userId="3c27868c-0a83-4796-8e73-928aedf90492" providerId="ADAL" clId="{5CBF05AC-E070-4783-A19A-6BC3B3D7C0FB}" dt="2026-05-26T10:13:04.231" v="8" actId="47"/>
        <pc:sldMkLst>
          <pc:docMk/>
          <pc:sldMk cId="2812689502" sldId="341"/>
        </pc:sldMkLst>
      </pc:sldChg>
      <pc:sldChg chg="modSp mod modAnim">
        <pc:chgData name="Tom Hollander" userId="3c27868c-0a83-4796-8e73-928aedf90492" providerId="ADAL" clId="{5CBF05AC-E070-4783-A19A-6BC3B3D7C0FB}" dt="2026-05-28T06:14:11.260" v="1574"/>
        <pc:sldMkLst>
          <pc:docMk/>
          <pc:sldMk cId="3638039326" sldId="342"/>
        </pc:sldMkLst>
        <pc:spChg chg="mod">
          <ac:chgData name="Tom Hollander" userId="3c27868c-0a83-4796-8e73-928aedf90492" providerId="ADAL" clId="{5CBF05AC-E070-4783-A19A-6BC3B3D7C0FB}" dt="2026-05-26T10:55:51.232" v="1294" actId="20577"/>
          <ac:spMkLst>
            <pc:docMk/>
            <pc:sldMk cId="3638039326" sldId="342"/>
            <ac:spMk id="2" creationId="{86B9042B-F7F7-137A-5AB7-701C2807A3BF}"/>
          </ac:spMkLst>
        </pc:spChg>
        <pc:spChg chg="mod">
          <ac:chgData name="Tom Hollander" userId="3c27868c-0a83-4796-8e73-928aedf90492" providerId="ADAL" clId="{5CBF05AC-E070-4783-A19A-6BC3B3D7C0FB}" dt="2026-05-26T11:02:30.107" v="1566" actId="255"/>
          <ac:spMkLst>
            <pc:docMk/>
            <pc:sldMk cId="3638039326" sldId="342"/>
            <ac:spMk id="3" creationId="{B092BFCE-5461-D138-6D06-E6EAE46B13DA}"/>
          </ac:spMkLst>
        </pc:spChg>
      </pc:sldChg>
      <pc:sldChg chg="del">
        <pc:chgData name="Tom Hollander" userId="3c27868c-0a83-4796-8e73-928aedf90492" providerId="ADAL" clId="{5CBF05AC-E070-4783-A19A-6BC3B3D7C0FB}" dt="2026-05-26T10:11:23.388" v="5" actId="47"/>
        <pc:sldMkLst>
          <pc:docMk/>
          <pc:sldMk cId="4000748880" sldId="343"/>
        </pc:sldMkLst>
      </pc:sldChg>
      <pc:sldChg chg="del">
        <pc:chgData name="Tom Hollander" userId="3c27868c-0a83-4796-8e73-928aedf90492" providerId="ADAL" clId="{5CBF05AC-E070-4783-A19A-6BC3B3D7C0FB}" dt="2026-05-26T10:11:16.587" v="4" actId="47"/>
        <pc:sldMkLst>
          <pc:docMk/>
          <pc:sldMk cId="1433713531" sldId="345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DDBC23-5257-4405-96F1-626A67D440F0}" type="datetimeFigureOut">
              <a:rPr lang="en-US" smtClean="0"/>
              <a:t>5/28/2026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480300-B0B7-4E36-A7B2-50799F184723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409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480300-B0B7-4E36-A7B2-50799F18472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7855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480300-B0B7-4E36-A7B2-50799F184723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7914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hyperlink" Target="mailto:firstname.lastname@agora-agrar.de" TargetMode="Externa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9D61C4-D210-4B8B-F4C5-58FFFEA664AD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79425" y="2384236"/>
            <a:ext cx="5998633" cy="1354217"/>
          </a:xfrm>
          <a:noFill/>
          <a:ln>
            <a:noFill/>
          </a:ln>
        </p:spPr>
        <p:txBody>
          <a:bodyPr lIns="0" tIns="0" rIns="0" bIns="0" anchor="b">
            <a:noAutofit/>
          </a:bodyPr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ype your short Headline in her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8567A39-B64F-F63E-0953-0BE08323CA01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79425" y="4109551"/>
            <a:ext cx="5998633" cy="430887"/>
          </a:xfrm>
        </p:spPr>
        <p:txBody>
          <a:bodyPr>
            <a:noAutofit/>
          </a:bodyPr>
          <a:lstStyle>
            <a:lvl1pPr marL="0" indent="0" algn="l">
              <a:buNone/>
              <a:defRPr sz="2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Use the subline for more details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53DAE8F-B035-610B-B4C1-24F753B220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198687"/>
            <a:ext cx="5998633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25" name="Textplatzhalter 21">
            <a:extLst>
              <a:ext uri="{FF2B5EF4-FFF2-40B4-BE49-F238E27FC236}">
                <a16:creationId xmlns:a16="http://schemas.microsoft.com/office/drawing/2014/main" id="{7C5C530F-A8F0-FA51-C497-468B15FC83F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3924002"/>
            <a:ext cx="5998633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26" name="Textplatzhalter 21">
            <a:extLst>
              <a:ext uri="{FF2B5EF4-FFF2-40B4-BE49-F238E27FC236}">
                <a16:creationId xmlns:a16="http://schemas.microsoft.com/office/drawing/2014/main" id="{86FCC519-E5BD-CBF9-65C1-AD288E8F8A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25987"/>
            <a:ext cx="5998633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37" name="Bildplatzhalter 10">
            <a:extLst>
              <a:ext uri="{FF2B5EF4-FFF2-40B4-BE49-F238E27FC236}">
                <a16:creationId xmlns:a16="http://schemas.microsoft.com/office/drawing/2014/main" id="{89CF0573-EFE1-F5D3-C7AE-36769CEF4FF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883199" y="5024875"/>
            <a:ext cx="1689600" cy="960000"/>
          </a:xfrm>
          <a:solidFill>
            <a:schemeClr val="bg1"/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38" name="Bildplatzhalter 11">
            <a:extLst>
              <a:ext uri="{FF2B5EF4-FFF2-40B4-BE49-F238E27FC236}">
                <a16:creationId xmlns:a16="http://schemas.microsoft.com/office/drawing/2014/main" id="{357234D5-C0F2-D7DF-FFA8-A5A96146F91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883199" y="4048026"/>
            <a:ext cx="1689600" cy="960000"/>
          </a:xfrm>
          <a:solidFill>
            <a:schemeClr val="bg1"/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39" name="Bildplatzhalter 12">
            <a:extLst>
              <a:ext uri="{FF2B5EF4-FFF2-40B4-BE49-F238E27FC236}">
                <a16:creationId xmlns:a16="http://schemas.microsoft.com/office/drawing/2014/main" id="{4050D026-C940-0D40-496D-7A07832C098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883199" y="3071176"/>
            <a:ext cx="1689600" cy="960000"/>
          </a:xfrm>
          <a:solidFill>
            <a:schemeClr val="bg1"/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0F5BCCBB-6EF7-F826-CAC9-39A7D4E5D31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5384305"/>
            <a:ext cx="5998633" cy="307777"/>
          </a:xfrm>
        </p:spPr>
        <p:txBody>
          <a:bodyPr>
            <a:no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Last Name Name</a:t>
            </a:r>
          </a:p>
        </p:txBody>
      </p:sp>
      <p:sp>
        <p:nvSpPr>
          <p:cNvPr id="42" name="Textplatzhalter 33">
            <a:extLst>
              <a:ext uri="{FF2B5EF4-FFF2-40B4-BE49-F238E27FC236}">
                <a16:creationId xmlns:a16="http://schemas.microsoft.com/office/drawing/2014/main" id="{97817F9D-6D68-FE6C-3395-C10DFEAC61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5738654"/>
            <a:ext cx="5998633" cy="246221"/>
          </a:xfrm>
        </p:spPr>
        <p:txBody>
          <a:bodyPr>
            <a:noAutofit/>
          </a:bodyPr>
          <a:lstStyle>
            <a:lvl1pPr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10th September 2024</a:t>
            </a:r>
          </a:p>
        </p:txBody>
      </p:sp>
    </p:spTree>
    <p:extLst>
      <p:ext uri="{BB962C8B-B14F-4D97-AF65-F5344CB8AC3E}">
        <p14:creationId xmlns:p14="http://schemas.microsoft.com/office/powerpoint/2010/main" val="8559122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D08D488-232A-7690-6950-F55BA9F261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8491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08D488-232A-7690-6950-F55BA9F261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C3038A80-7CE0-8DE9-5C46-4FBE53A1662A}"/>
              </a:ext>
            </a:extLst>
          </p:cNvPr>
          <p:cNvSpPr/>
          <p:nvPr userDrawn="1"/>
        </p:nvSpPr>
        <p:spPr>
          <a:xfrm>
            <a:off x="1" y="1245132"/>
            <a:ext cx="6051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798E78-D798-339A-B7B4-ACF128101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Headline, Calibri Bold 28 pt.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66C9420-369E-F800-839A-180CB3D30F90}"/>
              </a:ext>
            </a:extLst>
          </p:cNvPr>
          <p:cNvSpPr/>
          <p:nvPr userDrawn="1"/>
        </p:nvSpPr>
        <p:spPr>
          <a:xfrm>
            <a:off x="6141001" y="1245132"/>
            <a:ext cx="6051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5F20F26-5482-FFA5-88B0-864DE37433C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2133600"/>
            <a:ext cx="5211576" cy="3851275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B77F3540-CADA-A7E7-CAED-DEFE4561E2A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500999" y="2133600"/>
            <a:ext cx="5211576" cy="3851275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platzhalter 13">
            <a:extLst>
              <a:ext uri="{FF2B5EF4-FFF2-40B4-BE49-F238E27FC236}">
                <a16:creationId xmlns:a16="http://schemas.microsoft.com/office/drawing/2014/main" id="{22B6733E-69D9-99D0-015D-72E19DB3DC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449388"/>
            <a:ext cx="5211576" cy="553998"/>
          </a:xfrm>
        </p:spPr>
        <p:txBody>
          <a:bodyPr anchor="t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Headline, two lines</a:t>
            </a:r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7F2D2B2-91DF-70EF-EC27-7E497457C9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00999" y="1449388"/>
            <a:ext cx="5211576" cy="553998"/>
          </a:xfrm>
        </p:spPr>
        <p:txBody>
          <a:bodyPr anchor="t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Headline, two lines</a:t>
            </a:r>
            <a:endParaRPr lang="en-US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31DECF90-5D0F-6AB7-148F-7FF617D4C76A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63248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text (1/3 &amp;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B7607A7-3615-CC2D-255C-8F0C9BC18D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4472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7607A7-3615-CC2D-255C-8F0C9BC18D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52FE2163-E4DF-4DFC-90A8-662C68072EEB}"/>
              </a:ext>
            </a:extLst>
          </p:cNvPr>
          <p:cNvSpPr/>
          <p:nvPr userDrawn="1"/>
        </p:nvSpPr>
        <p:spPr>
          <a:xfrm flipH="1">
            <a:off x="1" y="1245132"/>
            <a:ext cx="4004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90D187E5-01BB-EBE4-D7F5-01378DC00073}"/>
              </a:ext>
            </a:extLst>
          </p:cNvPr>
          <p:cNvSpPr/>
          <p:nvPr userDrawn="1"/>
        </p:nvSpPr>
        <p:spPr>
          <a:xfrm flipH="1">
            <a:off x="4094001" y="1245132"/>
            <a:ext cx="8098000" cy="4944000"/>
          </a:xfrm>
          <a:custGeom>
            <a:avLst/>
            <a:gdLst>
              <a:gd name="connsiteX0" fmla="*/ 0 w 8098000"/>
              <a:gd name="connsiteY0" fmla="*/ 0 h 4944000"/>
              <a:gd name="connsiteX1" fmla="*/ 4094000 w 8098000"/>
              <a:gd name="connsiteY1" fmla="*/ 0 h 4944000"/>
              <a:gd name="connsiteX2" fmla="*/ 5211576 w 8098000"/>
              <a:gd name="connsiteY2" fmla="*/ 0 h 4944000"/>
              <a:gd name="connsiteX3" fmla="*/ 8098000 w 8098000"/>
              <a:gd name="connsiteY3" fmla="*/ 0 h 4944000"/>
              <a:gd name="connsiteX4" fmla="*/ 8098000 w 8098000"/>
              <a:gd name="connsiteY4" fmla="*/ 4944000 h 4944000"/>
              <a:gd name="connsiteX5" fmla="*/ 5211576 w 8098000"/>
              <a:gd name="connsiteY5" fmla="*/ 4944000 h 4944000"/>
              <a:gd name="connsiteX6" fmla="*/ 4094000 w 8098000"/>
              <a:gd name="connsiteY6" fmla="*/ 4944000 h 4944000"/>
              <a:gd name="connsiteX7" fmla="*/ 0 w 8098000"/>
              <a:gd name="connsiteY7" fmla="*/ 4944000 h 4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98000" h="4944000">
                <a:moveTo>
                  <a:pt x="0" y="0"/>
                </a:moveTo>
                <a:lnTo>
                  <a:pt x="4094000" y="0"/>
                </a:lnTo>
                <a:lnTo>
                  <a:pt x="5211576" y="0"/>
                </a:lnTo>
                <a:lnTo>
                  <a:pt x="8098000" y="0"/>
                </a:lnTo>
                <a:lnTo>
                  <a:pt x="8098000" y="4944000"/>
                </a:lnTo>
                <a:lnTo>
                  <a:pt x="5211576" y="4944000"/>
                </a:lnTo>
                <a:lnTo>
                  <a:pt x="4094000" y="4944000"/>
                </a:lnTo>
                <a:lnTo>
                  <a:pt x="0" y="4944000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798E78-D798-339A-B7B4-ACF1281018F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Headline, Calibri Bold 28 pt.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ADF188-A1B5-A648-F546-4A32549B3695}"/>
              </a:ext>
            </a:extLst>
          </p:cNvPr>
          <p:cNvSpPr>
            <a:spLocks noGrp="1"/>
          </p:cNvSpPr>
          <p:nvPr userDrawn="1">
            <p:ph idx="1" hasCustomPrompt="1"/>
          </p:nvPr>
        </p:nvSpPr>
        <p:spPr>
          <a:xfrm>
            <a:off x="479425" y="2133600"/>
            <a:ext cx="3164574" cy="3851275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AB006D9-056C-E47C-6421-8A9ADA295C13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453999" y="1449388"/>
            <a:ext cx="7258576" cy="4535487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47E97C24-11B7-004C-11B4-5AD1765FD6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1449388"/>
            <a:ext cx="3164574" cy="553998"/>
          </a:xfrm>
        </p:spPr>
        <p:txBody>
          <a:bodyPr anchor="t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Headline, two lines</a:t>
            </a:r>
            <a:endParaRPr lang="en-US" dirty="0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AA184181-B65D-2CF6-41B5-B127F25AE93E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15599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conten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C793278-32F7-61C4-7171-3412CDCC3E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0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793278-32F7-61C4-7171-3412CDCC3E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52FE2163-E4DF-4DFC-90A8-662C68072EEB}"/>
              </a:ext>
            </a:extLst>
          </p:cNvPr>
          <p:cNvSpPr/>
          <p:nvPr userDrawn="1"/>
        </p:nvSpPr>
        <p:spPr>
          <a:xfrm flipH="1">
            <a:off x="1" y="1245132"/>
            <a:ext cx="4004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1F54E94-B244-3939-FEE0-BDA66F27099B}"/>
              </a:ext>
            </a:extLst>
          </p:cNvPr>
          <p:cNvSpPr/>
          <p:nvPr userDrawn="1"/>
        </p:nvSpPr>
        <p:spPr>
          <a:xfrm flipH="1">
            <a:off x="8187999" y="1245132"/>
            <a:ext cx="4004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6E83156-26C6-2A55-B8EE-8778D1C738D6}"/>
              </a:ext>
            </a:extLst>
          </p:cNvPr>
          <p:cNvSpPr/>
          <p:nvPr userDrawn="1"/>
        </p:nvSpPr>
        <p:spPr>
          <a:xfrm flipH="1">
            <a:off x="4094000" y="1245132"/>
            <a:ext cx="4004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798E78-D798-339A-B7B4-ACF1281018F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Headline, Calibri Bold 28 pt.</a:t>
            </a:r>
            <a:endParaRPr lang="en-US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3C3729F-F6DF-2E2D-D4EB-CA0CD7EA5CC4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79425" y="2133600"/>
            <a:ext cx="3164574" cy="3851275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CCF387A8-F855-CC05-A7CE-C0532E02EA4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453998" y="1449388"/>
            <a:ext cx="3284003" cy="4535487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47E97C24-11B7-004C-11B4-5AD1765FD6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1449388"/>
            <a:ext cx="3164574" cy="553998"/>
          </a:xfrm>
        </p:spPr>
        <p:txBody>
          <a:bodyPr anchor="t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Headline, two lines</a:t>
            </a:r>
            <a:endParaRPr lang="en-US" dirty="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8BEF0F2C-0F08-DBB6-9C34-4BDA2894F5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548001" y="1449388"/>
            <a:ext cx="3164574" cy="4535487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AE171BBE-BBF2-D74E-E55A-201E41E4EA5A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67803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7">
            <a:extLst>
              <a:ext uri="{FF2B5EF4-FFF2-40B4-BE49-F238E27FC236}">
                <a16:creationId xmlns:a16="http://schemas.microsoft.com/office/drawing/2014/main" id="{2C027322-14DC-CE3F-17EB-616596E53E9B}"/>
              </a:ext>
            </a:extLst>
          </p:cNvPr>
          <p:cNvSpPr/>
          <p:nvPr userDrawn="1"/>
        </p:nvSpPr>
        <p:spPr>
          <a:xfrm>
            <a:off x="-1" y="1236663"/>
            <a:ext cx="6051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61C4210-8B40-FEEB-700C-B7F970F279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3679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1C4210-8B40-FEEB-700C-B7F970F27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FE57BDA-77E8-AC3F-7AE9-C5D9FD1969F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9425" y="1245132"/>
            <a:ext cx="5571576" cy="4944000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798E78-D798-339A-B7B4-ACF128101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Headline, Calibri Bold 28 pt.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66C9420-369E-F800-839A-180CB3D30F90}"/>
              </a:ext>
            </a:extLst>
          </p:cNvPr>
          <p:cNvSpPr/>
          <p:nvPr userDrawn="1"/>
        </p:nvSpPr>
        <p:spPr>
          <a:xfrm>
            <a:off x="6141001" y="1245132"/>
            <a:ext cx="6051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C0204F2-6610-825D-57D1-47E93419DF3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500999" y="1449388"/>
            <a:ext cx="5211576" cy="4535487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1C16E34E-71E4-E4CF-2B7D-9E11A05687F5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85828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8">
            <a:extLst>
              <a:ext uri="{FF2B5EF4-FFF2-40B4-BE49-F238E27FC236}">
                <a16:creationId xmlns:a16="http://schemas.microsoft.com/office/drawing/2014/main" id="{36CC40C5-7510-7768-5B5A-6B98B991126D}"/>
              </a:ext>
            </a:extLst>
          </p:cNvPr>
          <p:cNvSpPr/>
          <p:nvPr userDrawn="1"/>
        </p:nvSpPr>
        <p:spPr>
          <a:xfrm flipH="1">
            <a:off x="1" y="1245132"/>
            <a:ext cx="12192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85621E-E54C-DF71-1D28-863C0C13D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07E05F-97AE-6CAE-5F0B-C67267B007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6D9274-6E84-39BB-02F1-460FB231FC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8" name="Gerader Verbinder 2">
            <a:extLst>
              <a:ext uri="{FF2B5EF4-FFF2-40B4-BE49-F238E27FC236}">
                <a16:creationId xmlns:a16="http://schemas.microsoft.com/office/drawing/2014/main" id="{B38D3DD3-5533-D8D2-9F1E-48D465A2E0A9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49364E91-02DE-94EB-75F2-690B8E8938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4" y="1449387"/>
            <a:ext cx="11233149" cy="311211"/>
          </a:xfrm>
        </p:spPr>
        <p:txBody>
          <a:bodyPr anchor="t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Headline, one line</a:t>
            </a:r>
          </a:p>
        </p:txBody>
      </p:sp>
      <p:sp>
        <p:nvSpPr>
          <p:cNvPr id="9" name="Table Placeholder 5">
            <a:extLst>
              <a:ext uri="{FF2B5EF4-FFF2-40B4-BE49-F238E27FC236}">
                <a16:creationId xmlns:a16="http://schemas.microsoft.com/office/drawing/2014/main" id="{4ED86370-8693-FFB2-07CE-41A7AEED82B8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79425" y="1890813"/>
            <a:ext cx="11233150" cy="4092678"/>
          </a:xfrm>
        </p:spPr>
        <p:txBody>
          <a:bodyPr/>
          <a:lstStyle/>
          <a:p>
            <a:r>
              <a:rPr lang="de-DE"/>
              <a:t>Tabelle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65482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A182DB2-F556-ACC4-80ED-F0A58F850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025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182DB2-F556-ACC4-80ED-F0A58F850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F990A58B-299C-E72A-C272-3A6F512CD76E}"/>
              </a:ext>
            </a:extLst>
          </p:cNvPr>
          <p:cNvSpPr/>
          <p:nvPr userDrawn="1"/>
        </p:nvSpPr>
        <p:spPr>
          <a:xfrm>
            <a:off x="1" y="1245132"/>
            <a:ext cx="12191999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798E78-D798-339A-B7B4-ACF128101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Headline, Calibri Bold 28 pt.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ADF188-A1B5-A648-F546-4A32549B36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1449388"/>
            <a:ext cx="11233150" cy="453548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Nr.›</a:t>
            </a:fld>
            <a:endParaRPr lang="en-US" dirty="0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3F7E1BD6-E0BD-5560-DE9A-B0B712F14FCA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78397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1">
            <a:extLst>
              <a:ext uri="{FF2B5EF4-FFF2-40B4-BE49-F238E27FC236}">
                <a16:creationId xmlns:a16="http://schemas.microsoft.com/office/drawing/2014/main" id="{12F92526-BE7B-CC58-295C-66C3793B7775}"/>
              </a:ext>
            </a:extLst>
          </p:cNvPr>
          <p:cNvSpPr/>
          <p:nvPr userDrawn="1"/>
        </p:nvSpPr>
        <p:spPr>
          <a:xfrm>
            <a:off x="0" y="0"/>
            <a:ext cx="9120000" cy="6858000"/>
          </a:xfrm>
          <a:prstGeom prst="rect">
            <a:avLst/>
          </a:prstGeom>
          <a:gradFill flip="none" rotWithShape="1">
            <a:gsLst>
              <a:gs pos="100000">
                <a:srgbClr val="CC9900"/>
              </a:gs>
              <a:gs pos="0">
                <a:srgbClr val="EAAD12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5" name="Rechteck 7">
            <a:extLst>
              <a:ext uri="{FF2B5EF4-FFF2-40B4-BE49-F238E27FC236}">
                <a16:creationId xmlns:a16="http://schemas.microsoft.com/office/drawing/2014/main" id="{64BFA5B6-ABAE-6B1D-3DF2-F2BAD4A968A8}"/>
              </a:ext>
            </a:extLst>
          </p:cNvPr>
          <p:cNvSpPr>
            <a:spLocks/>
          </p:cNvSpPr>
          <p:nvPr userDrawn="1"/>
        </p:nvSpPr>
        <p:spPr>
          <a:xfrm>
            <a:off x="9120000" y="0"/>
            <a:ext cx="3072000" cy="6858000"/>
          </a:xfrm>
          <a:prstGeom prst="rect">
            <a:avLst/>
          </a:prstGeom>
          <a:gradFill>
            <a:gsLst>
              <a:gs pos="48000">
                <a:srgbClr val="FFFFFF"/>
              </a:gs>
              <a:gs pos="0">
                <a:schemeClr val="bg1">
                  <a:alpha val="93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 dirty="0"/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72854E99-209C-1E50-117B-5C4761F034BC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44001" y="480923"/>
            <a:ext cx="1967998" cy="81307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E22891E0-6769-581B-3A01-4B59A82ED5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6" y="1996098"/>
            <a:ext cx="5998633" cy="1354217"/>
          </a:xfrm>
        </p:spPr>
        <p:txBody>
          <a:bodyPr anchor="ctr"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anke für </a:t>
            </a:r>
            <a:r>
              <a:rPr lang="en-US" dirty="0" err="1"/>
              <a:t>Ihr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Aufmerksamkeit</a:t>
            </a:r>
            <a:r>
              <a:rPr lang="en-US" dirty="0"/>
              <a:t>!</a:t>
            </a:r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F2E3BC02-4074-A23B-95D9-93A3CE19A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486" y="1801122"/>
            <a:ext cx="5998633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99E0EB6F-EDC1-CEC6-4D6B-4A3709A8C6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486" y="3526437"/>
            <a:ext cx="5998633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04E6A37B-D228-35B1-0AED-65445BDA0B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0486" y="3991708"/>
            <a:ext cx="5998633" cy="2043332"/>
          </a:xfrm>
        </p:spPr>
        <p:txBody>
          <a:bodyPr anchor="b" anchorCtr="0">
            <a:noAutofit/>
          </a:bodyPr>
          <a:lstStyle>
            <a:lvl1pPr>
              <a:spcAft>
                <a:spcPts val="0"/>
              </a:spcAft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637213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D090F35D-ECC6-890E-1997-0C5D1324C9E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CC9900"/>
              </a:gs>
              <a:gs pos="0">
                <a:srgbClr val="EAAD12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1067B259-D23F-67EC-87CE-6E47225DB1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5" y="607786"/>
            <a:ext cx="8640232" cy="677108"/>
          </a:xfrm>
        </p:spPr>
        <p:txBody>
          <a:bodyPr anchor="ctr"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Impressum</a:t>
            </a:r>
            <a:endParaRPr lang="en-US" dirty="0"/>
          </a:p>
        </p:txBody>
      </p:sp>
      <p:sp>
        <p:nvSpPr>
          <p:cNvPr id="15" name="Textplatzhalter 21">
            <a:extLst>
              <a:ext uri="{FF2B5EF4-FFF2-40B4-BE49-F238E27FC236}">
                <a16:creationId xmlns:a16="http://schemas.microsoft.com/office/drawing/2014/main" id="{CCF7BBCD-D47D-3966-725F-D269447D1D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485" y="422193"/>
            <a:ext cx="11232000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ADD5A348-173F-903C-D550-D9D7FBF271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451633"/>
            <a:ext cx="11232000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31,2</a:t>
            </a:r>
          </a:p>
          <a:p>
            <a:pPr lvl="0"/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498A0A0-2C56-2EA8-B38F-7B5A57211E3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29375" y="1896110"/>
            <a:ext cx="5283200" cy="4149725"/>
          </a:xfrm>
        </p:spPr>
        <p:txBody>
          <a:bodyPr anchor="b" anchorCtr="0"/>
          <a:lstStyle>
            <a:lvl1pPr>
              <a:spcAft>
                <a:spcPts val="0"/>
              </a:spcAft>
              <a:defRPr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Projektleitung</a:t>
            </a:r>
            <a:endParaRPr lang="en-US" dirty="0"/>
          </a:p>
          <a:p>
            <a:pPr lvl="0"/>
            <a:r>
              <a:rPr lang="en-US" dirty="0"/>
              <a:t>Person 1</a:t>
            </a:r>
          </a:p>
          <a:p>
            <a:pPr lvl="0"/>
            <a:r>
              <a:rPr lang="en-US" dirty="0"/>
              <a:t>mail@agora-agrar.de</a:t>
            </a:r>
          </a:p>
          <a:p>
            <a:pPr lvl="0"/>
            <a:endParaRPr lang="en-US" dirty="0"/>
          </a:p>
          <a:p>
            <a:pPr lvl="0"/>
            <a:r>
              <a:rPr lang="en-US" dirty="0" err="1"/>
              <a:t>Autorinnen</a:t>
            </a:r>
            <a:r>
              <a:rPr lang="en-US" dirty="0"/>
              <a:t> und </a:t>
            </a:r>
            <a:r>
              <a:rPr lang="en-US" dirty="0" err="1"/>
              <a:t>Autoren</a:t>
            </a:r>
            <a:br>
              <a:rPr lang="en-US" dirty="0"/>
            </a:br>
            <a:r>
              <a:rPr lang="en-US" dirty="0"/>
              <a:t>Person 1 (Agora </a:t>
            </a:r>
            <a:r>
              <a:rPr lang="en-US" dirty="0" err="1"/>
              <a:t>Agrar</a:t>
            </a:r>
            <a:r>
              <a:rPr lang="en-US" dirty="0"/>
              <a:t>)</a:t>
            </a:r>
            <a:br>
              <a:rPr lang="en-US" dirty="0"/>
            </a:br>
            <a:r>
              <a:rPr lang="en-US" dirty="0"/>
              <a:t>Person 2 (Agora </a:t>
            </a:r>
            <a:r>
              <a:rPr lang="en-US" dirty="0" err="1"/>
              <a:t>Agrar</a:t>
            </a:r>
            <a:r>
              <a:rPr lang="en-US" dirty="0"/>
              <a:t>)</a:t>
            </a:r>
          </a:p>
          <a:p>
            <a:pPr lvl="0"/>
            <a:endParaRPr lang="en-US" dirty="0"/>
          </a:p>
          <a:p>
            <a:pPr lvl="0"/>
            <a:r>
              <a:rPr lang="en-US" dirty="0" err="1"/>
              <a:t>Danksagung</a:t>
            </a:r>
            <a:br>
              <a:rPr lang="en-US" dirty="0"/>
            </a:br>
            <a:r>
              <a:rPr lang="en-US" dirty="0"/>
              <a:t>Special thanks to: Person 1, Person 2, Person 3 (all Agora </a:t>
            </a:r>
            <a:r>
              <a:rPr lang="en-US" dirty="0" err="1"/>
              <a:t>Agrar</a:t>
            </a:r>
            <a:r>
              <a:rPr lang="en-US" dirty="0"/>
              <a:t>)</a:t>
            </a:r>
          </a:p>
          <a:p>
            <a:pPr lvl="0"/>
            <a:endParaRPr lang="en-US" dirty="0"/>
          </a:p>
          <a:p>
            <a:pPr lvl="0"/>
            <a:r>
              <a:rPr lang="en-US" dirty="0" err="1"/>
              <a:t>Titelbild</a:t>
            </a:r>
            <a:r>
              <a:rPr lang="en-US" dirty="0"/>
              <a:t>: xx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247E558-BBC4-63E4-C0ED-FAE4FDE51425}"/>
              </a:ext>
            </a:extLst>
          </p:cNvPr>
          <p:cNvSpPr txBox="1"/>
          <p:nvPr userDrawn="1"/>
        </p:nvSpPr>
        <p:spPr>
          <a:xfrm>
            <a:off x="479425" y="4081195"/>
            <a:ext cx="5282616" cy="1964640"/>
          </a:xfrm>
          <a:prstGeom prst="rect">
            <a:avLst/>
          </a:prstGeom>
          <a:noFill/>
        </p:spPr>
        <p:txBody>
          <a:bodyPr wrap="square" lIns="0" bIns="0" rtlCol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chemeClr val="bg1"/>
                </a:solidFill>
              </a:rPr>
              <a:t>Agora </a:t>
            </a:r>
            <a:r>
              <a:rPr lang="en-US" b="1" dirty="0" err="1">
                <a:solidFill>
                  <a:schemeClr val="bg1"/>
                </a:solidFill>
              </a:rPr>
              <a:t>Agrar</a:t>
            </a:r>
            <a:endParaRPr lang="en-US" b="1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Agora Think Tanks </a:t>
            </a:r>
            <a:r>
              <a:rPr lang="en-US" dirty="0" err="1">
                <a:solidFill>
                  <a:schemeClr val="bg1"/>
                </a:solidFill>
              </a:rPr>
              <a:t>gGmbH</a:t>
            </a:r>
            <a:r>
              <a:rPr lang="en-US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Anna-Louisa-</a:t>
            </a:r>
            <a:r>
              <a:rPr lang="en-US" dirty="0" err="1">
                <a:solidFill>
                  <a:schemeClr val="bg1"/>
                </a:solidFill>
              </a:rPr>
              <a:t>Karsch</a:t>
            </a:r>
            <a:r>
              <a:rPr lang="en-US" dirty="0">
                <a:solidFill>
                  <a:schemeClr val="bg1"/>
                </a:solidFill>
              </a:rPr>
              <a:t>-</a:t>
            </a:r>
            <a:r>
              <a:rPr lang="en-US" dirty="0" err="1">
                <a:solidFill>
                  <a:schemeClr val="bg1"/>
                </a:solidFill>
              </a:rPr>
              <a:t>Straße</a:t>
            </a:r>
            <a:r>
              <a:rPr lang="en-US" dirty="0">
                <a:solidFill>
                  <a:schemeClr val="bg1"/>
                </a:solidFill>
              </a:rPr>
              <a:t> 2, D-10178 Berlin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T +49 (0) 30 7001435-0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solidFill>
                  <a:schemeClr val="bg1"/>
                </a:solidFill>
              </a:rPr>
              <a:t>www.agora-agrar.de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info@agora-agrar.de</a:t>
            </a:r>
          </a:p>
        </p:txBody>
      </p:sp>
    </p:spTree>
    <p:extLst>
      <p:ext uri="{BB962C8B-B14F-4D97-AF65-F5344CB8AC3E}">
        <p14:creationId xmlns:p14="http://schemas.microsoft.com/office/powerpoint/2010/main" val="14109440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13">
            <a:extLst>
              <a:ext uri="{FF2B5EF4-FFF2-40B4-BE49-F238E27FC236}">
                <a16:creationId xmlns:a16="http://schemas.microsoft.com/office/drawing/2014/main" id="{BB08A71D-95C6-398A-4C77-CC0DE9BF30BE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44001" y="480923"/>
            <a:ext cx="1967998" cy="813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4579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9D61C4-D210-4B8B-F4C5-58FFFEA664AD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79425" y="2384236"/>
            <a:ext cx="5998633" cy="1354217"/>
          </a:xfrm>
          <a:noFill/>
          <a:ln>
            <a:noFill/>
          </a:ln>
        </p:spPr>
        <p:txBody>
          <a:bodyPr lIns="0" tIns="0" rIns="0" bIns="0" anchor="b">
            <a:noAutofit/>
          </a:bodyPr>
          <a:lstStyle>
            <a:lvl1pPr algn="l"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ype your short Headline in her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8567A39-B64F-F63E-0953-0BE08323CA01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79425" y="4109551"/>
            <a:ext cx="5998633" cy="430887"/>
          </a:xfrm>
        </p:spPr>
        <p:txBody>
          <a:bodyPr>
            <a:noAutofit/>
          </a:bodyPr>
          <a:lstStyle>
            <a:lvl1pPr marL="0" indent="0" algn="l">
              <a:buNone/>
              <a:defRPr sz="2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Use the subline for more details</a:t>
            </a:r>
          </a:p>
        </p:txBody>
      </p:sp>
      <p:sp>
        <p:nvSpPr>
          <p:cNvPr id="12" name="Rechteck 7">
            <a:extLst>
              <a:ext uri="{FF2B5EF4-FFF2-40B4-BE49-F238E27FC236}">
                <a16:creationId xmlns:a16="http://schemas.microsoft.com/office/drawing/2014/main" id="{FEE96C12-4527-45B7-D03D-A15E73956021}"/>
              </a:ext>
            </a:extLst>
          </p:cNvPr>
          <p:cNvSpPr>
            <a:spLocks/>
          </p:cNvSpPr>
          <p:nvPr userDrawn="1"/>
        </p:nvSpPr>
        <p:spPr>
          <a:xfrm>
            <a:off x="9120000" y="0"/>
            <a:ext cx="3072000" cy="6858000"/>
          </a:xfrm>
          <a:prstGeom prst="rect">
            <a:avLst/>
          </a:prstGeom>
          <a:gradFill>
            <a:gsLst>
              <a:gs pos="48000">
                <a:srgbClr val="FFFFFF"/>
              </a:gs>
              <a:gs pos="0">
                <a:schemeClr val="bg1">
                  <a:alpha val="93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10A20717-102A-A6CC-8061-867520A99404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44001" y="480923"/>
            <a:ext cx="1967998" cy="813070"/>
          </a:xfrm>
          <a:prstGeom prst="rect">
            <a:avLst/>
          </a:prstGeom>
        </p:spPr>
      </p:pic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53DAE8F-B035-610B-B4C1-24F753B220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198687"/>
            <a:ext cx="5998633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25" name="Textplatzhalter 21">
            <a:extLst>
              <a:ext uri="{FF2B5EF4-FFF2-40B4-BE49-F238E27FC236}">
                <a16:creationId xmlns:a16="http://schemas.microsoft.com/office/drawing/2014/main" id="{7C5C530F-A8F0-FA51-C497-468B15FC83F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3924002"/>
            <a:ext cx="5998633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26" name="Textplatzhalter 21">
            <a:extLst>
              <a:ext uri="{FF2B5EF4-FFF2-40B4-BE49-F238E27FC236}">
                <a16:creationId xmlns:a16="http://schemas.microsoft.com/office/drawing/2014/main" id="{86FCC519-E5BD-CBF9-65C1-AD288E8F8A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25987"/>
            <a:ext cx="5998633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27" name="Bildplatzhalter 10">
            <a:extLst>
              <a:ext uri="{FF2B5EF4-FFF2-40B4-BE49-F238E27FC236}">
                <a16:creationId xmlns:a16="http://schemas.microsoft.com/office/drawing/2014/main" id="{0538C649-0633-2967-274F-E999AEE532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883199" y="5024875"/>
            <a:ext cx="1689600" cy="960000"/>
          </a:xfrm>
          <a:solidFill>
            <a:schemeClr val="bg1"/>
          </a:solidFill>
        </p:spPr>
        <p:txBody>
          <a:bodyPr anchor="ctr"/>
          <a:lstStyle>
            <a:lvl1pPr algn="ctr">
              <a:defRPr b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Logo</a:t>
            </a:r>
          </a:p>
        </p:txBody>
      </p:sp>
      <p:sp>
        <p:nvSpPr>
          <p:cNvPr id="28" name="Bildplatzhalter 11">
            <a:extLst>
              <a:ext uri="{FF2B5EF4-FFF2-40B4-BE49-F238E27FC236}">
                <a16:creationId xmlns:a16="http://schemas.microsoft.com/office/drawing/2014/main" id="{EEADF5F9-B815-F828-E816-3A3F6A4E247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883199" y="4048026"/>
            <a:ext cx="1689600" cy="960000"/>
          </a:xfrm>
          <a:solidFill>
            <a:schemeClr val="bg1"/>
          </a:solidFill>
        </p:spPr>
        <p:txBody>
          <a:bodyPr anchor="ctr"/>
          <a:lstStyle>
            <a:lvl1pPr algn="ctr">
              <a:defRPr b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Logo</a:t>
            </a:r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36809FF-B6F3-0E51-4C5A-3A66C39880A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883199" y="3071176"/>
            <a:ext cx="1689600" cy="960000"/>
          </a:xfrm>
          <a:solidFill>
            <a:schemeClr val="bg1"/>
          </a:solidFill>
        </p:spPr>
        <p:txBody>
          <a:bodyPr anchor="ctr"/>
          <a:lstStyle>
            <a:lvl1pPr algn="ctr">
              <a:defRPr b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Logo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1C25EAD-5AA3-0928-7566-7FC5BC0D37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1013" y="3749294"/>
            <a:ext cx="11231562" cy="2320925"/>
          </a:xfrm>
        </p:spPr>
        <p:txBody>
          <a:bodyPr anchor="b" anchorCtr="0"/>
          <a:lstStyle>
            <a:lvl1pPr>
              <a:defRPr u="none"/>
            </a:lvl1pPr>
          </a:lstStyle>
          <a:p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184568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1">
            <a:extLst>
              <a:ext uri="{FF2B5EF4-FFF2-40B4-BE49-F238E27FC236}">
                <a16:creationId xmlns:a16="http://schemas.microsoft.com/office/drawing/2014/main" id="{52F46746-FCA9-C6DB-11E1-F86491C824A8}"/>
              </a:ext>
            </a:extLst>
          </p:cNvPr>
          <p:cNvSpPr/>
          <p:nvPr userDrawn="1"/>
        </p:nvSpPr>
        <p:spPr>
          <a:xfrm>
            <a:off x="0" y="0"/>
            <a:ext cx="9120000" cy="6858000"/>
          </a:xfrm>
          <a:prstGeom prst="rect">
            <a:avLst/>
          </a:prstGeom>
          <a:gradFill flip="none" rotWithShape="1">
            <a:gsLst>
              <a:gs pos="100000">
                <a:srgbClr val="CC9900"/>
              </a:gs>
              <a:gs pos="0">
                <a:srgbClr val="EAAD12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9D61C4-D210-4B8B-F4C5-58FFFEA664AD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79425" y="2384236"/>
            <a:ext cx="5998633" cy="1354217"/>
          </a:xfrm>
          <a:noFill/>
          <a:ln>
            <a:noFill/>
          </a:ln>
        </p:spPr>
        <p:txBody>
          <a:bodyPr lIns="0" tIns="0" rIns="0" bIns="0" anchor="b">
            <a:noAutofit/>
          </a:bodyPr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ype your short Headline in her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8567A39-B64F-F63E-0953-0BE08323CA01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79425" y="4109551"/>
            <a:ext cx="5998633" cy="430887"/>
          </a:xfrm>
        </p:spPr>
        <p:txBody>
          <a:bodyPr>
            <a:noAutofit/>
          </a:bodyPr>
          <a:lstStyle>
            <a:lvl1pPr marL="0" indent="0" algn="l">
              <a:buNone/>
              <a:defRPr sz="2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Use the subline for more details</a:t>
            </a:r>
          </a:p>
        </p:txBody>
      </p:sp>
      <p:sp>
        <p:nvSpPr>
          <p:cNvPr id="12" name="Rechteck 7">
            <a:extLst>
              <a:ext uri="{FF2B5EF4-FFF2-40B4-BE49-F238E27FC236}">
                <a16:creationId xmlns:a16="http://schemas.microsoft.com/office/drawing/2014/main" id="{FEE96C12-4527-45B7-D03D-A15E73956021}"/>
              </a:ext>
            </a:extLst>
          </p:cNvPr>
          <p:cNvSpPr>
            <a:spLocks/>
          </p:cNvSpPr>
          <p:nvPr userDrawn="1"/>
        </p:nvSpPr>
        <p:spPr>
          <a:xfrm>
            <a:off x="9120000" y="0"/>
            <a:ext cx="3072000" cy="6858000"/>
          </a:xfrm>
          <a:prstGeom prst="rect">
            <a:avLst/>
          </a:prstGeom>
          <a:gradFill>
            <a:gsLst>
              <a:gs pos="48000">
                <a:srgbClr val="FFFFFF"/>
              </a:gs>
              <a:gs pos="0">
                <a:schemeClr val="bg1">
                  <a:alpha val="93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10A20717-102A-A6CC-8061-867520A99404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44001" y="480923"/>
            <a:ext cx="1967998" cy="813070"/>
          </a:xfrm>
          <a:prstGeom prst="rect">
            <a:avLst/>
          </a:prstGeom>
        </p:spPr>
      </p:pic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53DAE8F-B035-610B-B4C1-24F753B220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198687"/>
            <a:ext cx="5998633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25" name="Textplatzhalter 21">
            <a:extLst>
              <a:ext uri="{FF2B5EF4-FFF2-40B4-BE49-F238E27FC236}">
                <a16:creationId xmlns:a16="http://schemas.microsoft.com/office/drawing/2014/main" id="{7C5C530F-A8F0-FA51-C497-468B15FC83F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3924002"/>
            <a:ext cx="5998633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26" name="Textplatzhalter 21">
            <a:extLst>
              <a:ext uri="{FF2B5EF4-FFF2-40B4-BE49-F238E27FC236}">
                <a16:creationId xmlns:a16="http://schemas.microsoft.com/office/drawing/2014/main" id="{86FCC519-E5BD-CBF9-65C1-AD288E8F8A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25987"/>
            <a:ext cx="5998633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27" name="Bildplatzhalter 10">
            <a:extLst>
              <a:ext uri="{FF2B5EF4-FFF2-40B4-BE49-F238E27FC236}">
                <a16:creationId xmlns:a16="http://schemas.microsoft.com/office/drawing/2014/main" id="{0538C649-0633-2967-274F-E999AEE532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883199" y="5024875"/>
            <a:ext cx="1689600" cy="960000"/>
          </a:xfrm>
          <a:solidFill>
            <a:schemeClr val="bg1"/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28" name="Bildplatzhalter 11">
            <a:extLst>
              <a:ext uri="{FF2B5EF4-FFF2-40B4-BE49-F238E27FC236}">
                <a16:creationId xmlns:a16="http://schemas.microsoft.com/office/drawing/2014/main" id="{EEADF5F9-B815-F828-E816-3A3F6A4E247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883199" y="4048026"/>
            <a:ext cx="1689600" cy="960000"/>
          </a:xfrm>
          <a:solidFill>
            <a:schemeClr val="bg1"/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36809FF-B6F3-0E51-4C5A-3A66C39880A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883199" y="3071176"/>
            <a:ext cx="1689600" cy="960000"/>
          </a:xfrm>
          <a:solidFill>
            <a:schemeClr val="bg1"/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5" name="Textplatzhalter 33">
            <a:extLst>
              <a:ext uri="{FF2B5EF4-FFF2-40B4-BE49-F238E27FC236}">
                <a16:creationId xmlns:a16="http://schemas.microsoft.com/office/drawing/2014/main" id="{F6FF4866-600C-6648-B8C1-25E51E9F681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5384305"/>
            <a:ext cx="5998633" cy="307777"/>
          </a:xfrm>
        </p:spPr>
        <p:txBody>
          <a:bodyPr>
            <a:no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Last Name Name</a:t>
            </a:r>
          </a:p>
        </p:txBody>
      </p:sp>
      <p:sp>
        <p:nvSpPr>
          <p:cNvPr id="6" name="Textplatzhalter 33">
            <a:extLst>
              <a:ext uri="{FF2B5EF4-FFF2-40B4-BE49-F238E27FC236}">
                <a16:creationId xmlns:a16="http://schemas.microsoft.com/office/drawing/2014/main" id="{3B6DE979-FD6F-FBCE-E456-E480CF65F9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5738654"/>
            <a:ext cx="5998633" cy="246221"/>
          </a:xfrm>
        </p:spPr>
        <p:txBody>
          <a:bodyPr>
            <a:noAutofit/>
          </a:bodyPr>
          <a:lstStyle>
            <a:lvl1pPr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10th September 2024</a:t>
            </a:r>
          </a:p>
        </p:txBody>
      </p:sp>
    </p:spTree>
    <p:extLst>
      <p:ext uri="{BB962C8B-B14F-4D97-AF65-F5344CB8AC3E}">
        <p14:creationId xmlns:p14="http://schemas.microsoft.com/office/powerpoint/2010/main" val="1261294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2891E0-6769-581B-3A01-4B59A82ED5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5" y="2040640"/>
            <a:ext cx="8640232" cy="677108"/>
          </a:xfrm>
        </p:spPr>
        <p:txBody>
          <a:bodyPr anchor="ctr">
            <a:noAutofit/>
          </a:bodyPr>
          <a:lstStyle>
            <a:lvl1pPr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F2E3BC02-4074-A23B-95D9-93A3CE19A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485" y="1855047"/>
            <a:ext cx="8640232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99E0EB6F-EDC1-CEC6-4D6B-4A3709A8C6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2884487"/>
            <a:ext cx="8640232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0C49125D-1F0C-94A9-D9FC-B2A11518EE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485" y="3147762"/>
            <a:ext cx="8640232" cy="2187619"/>
          </a:xfrm>
        </p:spPr>
        <p:txBody>
          <a:bodyPr/>
          <a:lstStyle>
            <a:lvl1pPr marL="360000" indent="-360000">
              <a:buSzPct val="130000"/>
              <a:buFont typeface="Symbol" panose="05050102010706020507" pitchFamily="18" charset="2"/>
              <a:buChar char="-"/>
              <a:defRPr sz="2400">
                <a:solidFill>
                  <a:schemeClr val="tx1"/>
                </a:solidFill>
              </a:defRPr>
            </a:lvl1pPr>
            <a:lvl2pPr marL="810000" indent="-360000">
              <a:buClrTx/>
              <a:buFont typeface="+mj-lt"/>
              <a:buAutoNum type="alphaLcPeriod"/>
              <a:defRPr sz="2400">
                <a:solidFill>
                  <a:schemeClr val="tx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ject 1</a:t>
            </a:r>
          </a:p>
        </p:txBody>
      </p:sp>
      <p:sp>
        <p:nvSpPr>
          <p:cNvPr id="12" name="Textplatzhalter 21">
            <a:extLst>
              <a:ext uri="{FF2B5EF4-FFF2-40B4-BE49-F238E27FC236}">
                <a16:creationId xmlns:a16="http://schemas.microsoft.com/office/drawing/2014/main" id="{8FBD042B-E66C-AE95-5861-4EA95F5CBD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0485" y="5598657"/>
            <a:ext cx="8640232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0686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2891E0-6769-581B-3A01-4B59A82ED5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5" y="2422765"/>
            <a:ext cx="8640232" cy="2031325"/>
          </a:xfrm>
        </p:spPr>
        <p:txBody>
          <a:bodyPr anchor="ctr">
            <a:noAutofit/>
          </a:bodyPr>
          <a:lstStyle>
            <a:lvl1pPr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ubject 1:</a:t>
            </a:r>
            <a:br>
              <a:rPr lang="en-US" dirty="0"/>
            </a:br>
            <a:r>
              <a:rPr lang="en-US" dirty="0"/>
              <a:t>Use this slide to </a:t>
            </a:r>
            <a:br>
              <a:rPr lang="en-US" dirty="0"/>
            </a:br>
            <a:r>
              <a:rPr lang="en-US" dirty="0"/>
              <a:t>introduce the subject</a:t>
            </a:r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F2E3BC02-4074-A23B-95D9-93A3CE19A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485" y="2242571"/>
            <a:ext cx="8640232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99E0EB6F-EDC1-CEC6-4D6B-4A3709A8C6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4615429"/>
            <a:ext cx="8640232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4893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16FA789-9959-D1DE-B1D9-9DC3A93359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6040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6FA789-9959-D1DE-B1D9-9DC3A93359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2891E0-6769-581B-3A01-4B59A82ED5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57331"/>
            <a:ext cx="11233150" cy="933853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Headline, Calibri Bold 32 pt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620C97-97EC-18CA-F13B-563A37CC6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8D55303-1AB7-26C0-18F2-E8A8B4BDA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C08DD4-DBA3-DDA7-F3CA-0B46FED06854}"/>
              </a:ext>
            </a:extLst>
          </p:cNvPr>
          <p:cNvSpPr/>
          <p:nvPr userDrawn="1"/>
        </p:nvSpPr>
        <p:spPr>
          <a:xfrm>
            <a:off x="1" y="1245132"/>
            <a:ext cx="12191999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FEE4DA77-8BAF-4DBD-C005-1A85354420AE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52841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n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D0DCC9B-1FF2-5AD6-FAAE-05A6CCEBE5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1265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0DCC9B-1FF2-5AD6-FAAE-05A6CCEBE5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F990A58B-299C-E72A-C272-3A6F512CD76E}"/>
              </a:ext>
            </a:extLst>
          </p:cNvPr>
          <p:cNvSpPr/>
          <p:nvPr userDrawn="1"/>
        </p:nvSpPr>
        <p:spPr>
          <a:xfrm>
            <a:off x="1" y="1245132"/>
            <a:ext cx="12191999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56640E8-8B14-2A60-7CFE-3A33E1B816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5519" y="2037241"/>
            <a:ext cx="10727056" cy="1554272"/>
          </a:xfrm>
        </p:spPr>
        <p:txBody>
          <a:bodyPr>
            <a:noAutofit/>
          </a:bodyPr>
          <a:lstStyle>
            <a:lvl2pPr>
              <a:defRPr/>
            </a:lvl2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BE5246FD-FBFC-297F-B27D-B7F9198C08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85519" y="3975260"/>
            <a:ext cx="10727056" cy="15542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C19B745-0B0B-7A95-8FE6-21B00CA222D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1982788"/>
            <a:ext cx="343535" cy="907941"/>
          </a:xfrm>
        </p:spPr>
        <p:txBody>
          <a:bodyPr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/>
              <a:t>1</a:t>
            </a:r>
            <a:endParaRPr lang="en-US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B3617C7A-DE37-529E-3556-64392F5BCB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3920808"/>
            <a:ext cx="343535" cy="907941"/>
          </a:xfrm>
        </p:spPr>
        <p:txBody>
          <a:bodyPr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2</a:t>
            </a:r>
            <a:endParaRPr lang="en-US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D9D4E426-8B0A-4CC4-1693-72E59A1563C1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" name="Titel 1">
            <a:extLst>
              <a:ext uri="{FF2B5EF4-FFF2-40B4-BE49-F238E27FC236}">
                <a16:creationId xmlns:a16="http://schemas.microsoft.com/office/drawing/2014/main" id="{6894DED4-9227-C7B7-2039-0B1B3E2147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57331"/>
            <a:ext cx="11233150" cy="933853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Headline, Calibri Bold 32 pt.</a:t>
            </a:r>
          </a:p>
        </p:txBody>
      </p:sp>
    </p:spTree>
    <p:extLst>
      <p:ext uri="{BB962C8B-B14F-4D97-AF65-F5344CB8AC3E}">
        <p14:creationId xmlns:p14="http://schemas.microsoft.com/office/powerpoint/2010/main" val="21469603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5DC22E9-FEF3-8679-613A-4FA1FF86CC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2140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DC22E9-FEF3-8679-613A-4FA1FF86CC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F990A58B-299C-E72A-C272-3A6F512CD76E}"/>
              </a:ext>
            </a:extLst>
          </p:cNvPr>
          <p:cNvSpPr/>
          <p:nvPr userDrawn="1"/>
        </p:nvSpPr>
        <p:spPr>
          <a:xfrm>
            <a:off x="1" y="1245132"/>
            <a:ext cx="12191999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ADF188-A1B5-A648-F546-4A32549B36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1449388"/>
            <a:ext cx="11233150" cy="4535487"/>
          </a:xfrm>
        </p:spPr>
        <p:txBody>
          <a:bodyPr/>
          <a:lstStyle>
            <a:lvl2pPr marL="360000" indent="-360000">
              <a:defRPr/>
            </a:lvl2pPr>
            <a:lvl3pPr marL="630000">
              <a:defRPr/>
            </a:lvl3pPr>
            <a:lvl4pPr marL="900000">
              <a:defRPr/>
            </a:lvl4pPr>
            <a:lvl5pPr marL="1170000">
              <a:defRPr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Nr.›</a:t>
            </a:fld>
            <a:endParaRPr lang="en-US" dirty="0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1542A64E-31E4-67EF-4BE2-3526B3C708E6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" name="Titel 1">
            <a:extLst>
              <a:ext uri="{FF2B5EF4-FFF2-40B4-BE49-F238E27FC236}">
                <a16:creationId xmlns:a16="http://schemas.microsoft.com/office/drawing/2014/main" id="{5830A8F7-AADB-F33E-0E6B-0F2570CE49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57331"/>
            <a:ext cx="11233150" cy="933853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Headline, Calibri Bold 32 pt.</a:t>
            </a:r>
          </a:p>
        </p:txBody>
      </p:sp>
    </p:spTree>
    <p:extLst>
      <p:ext uri="{BB962C8B-B14F-4D97-AF65-F5344CB8AC3E}">
        <p14:creationId xmlns:p14="http://schemas.microsoft.com/office/powerpoint/2010/main" val="6122441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AC75082-1096-6830-A11E-4B2B5BF90C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781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C75082-1096-6830-A11E-4B2B5BF90C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52FE2163-E4DF-4DFC-90A8-662C68072EEB}"/>
              </a:ext>
            </a:extLst>
          </p:cNvPr>
          <p:cNvSpPr/>
          <p:nvPr userDrawn="1"/>
        </p:nvSpPr>
        <p:spPr>
          <a:xfrm flipH="1">
            <a:off x="1" y="1245132"/>
            <a:ext cx="12192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47E97C24-11B7-004C-11B4-5AD1765FD6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1449388"/>
            <a:ext cx="11233150" cy="738664"/>
          </a:xfrm>
        </p:spPr>
        <p:txBody>
          <a:bodyPr anchor="t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Headline, two lines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C0A2F8F-3922-5F0B-A76C-9D952C7FF47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2264229"/>
            <a:ext cx="11233150" cy="3720646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FB4D8161-C2AF-0E9D-BFA4-B70FE6BDEF8E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Titel 1">
            <a:extLst>
              <a:ext uri="{FF2B5EF4-FFF2-40B4-BE49-F238E27FC236}">
                <a16:creationId xmlns:a16="http://schemas.microsoft.com/office/drawing/2014/main" id="{4F980EFD-EC65-DFAA-33AB-6D1CD58F1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57331"/>
            <a:ext cx="11233150" cy="933853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Headline, Calibri Bold 32 pt.</a:t>
            </a:r>
          </a:p>
        </p:txBody>
      </p:sp>
    </p:spTree>
    <p:extLst>
      <p:ext uri="{BB962C8B-B14F-4D97-AF65-F5344CB8AC3E}">
        <p14:creationId xmlns:p14="http://schemas.microsoft.com/office/powerpoint/2010/main" val="16021047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938671A-598D-CEAF-C3FC-DB827BC2FA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9707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38671A-598D-CEAF-C3FC-DB827BC2FA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C3038A80-7CE0-8DE9-5C46-4FBE53A1662A}"/>
              </a:ext>
            </a:extLst>
          </p:cNvPr>
          <p:cNvSpPr/>
          <p:nvPr userDrawn="1"/>
        </p:nvSpPr>
        <p:spPr>
          <a:xfrm>
            <a:off x="1" y="1245132"/>
            <a:ext cx="6051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66C9420-369E-F800-839A-180CB3D30F90}"/>
              </a:ext>
            </a:extLst>
          </p:cNvPr>
          <p:cNvSpPr/>
          <p:nvPr userDrawn="1"/>
        </p:nvSpPr>
        <p:spPr>
          <a:xfrm>
            <a:off x="6141001" y="1245132"/>
            <a:ext cx="6051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5F20F26-5482-FFA5-88B0-864DE37433C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2264229"/>
            <a:ext cx="5211576" cy="3720646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B77F3540-CADA-A7E7-CAED-DEFE4561E2A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500999" y="2264229"/>
            <a:ext cx="5211576" cy="3720646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platzhalter 13">
            <a:extLst>
              <a:ext uri="{FF2B5EF4-FFF2-40B4-BE49-F238E27FC236}">
                <a16:creationId xmlns:a16="http://schemas.microsoft.com/office/drawing/2014/main" id="{22B6733E-69D9-99D0-015D-72E19DB3DC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449388"/>
            <a:ext cx="5211576" cy="738664"/>
          </a:xfrm>
        </p:spPr>
        <p:txBody>
          <a:bodyPr anchor="t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Headline, two lines</a:t>
            </a:r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7F2D2B2-91DF-70EF-EC27-7E497457C9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00999" y="1449388"/>
            <a:ext cx="5211576" cy="738664"/>
          </a:xfrm>
        </p:spPr>
        <p:txBody>
          <a:bodyPr anchor="t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Headline, two lines</a:t>
            </a:r>
            <a:endParaRPr lang="en-US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901E8BAF-D987-1EAF-69EF-7DF348368DFC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" name="Titel 1">
            <a:extLst>
              <a:ext uri="{FF2B5EF4-FFF2-40B4-BE49-F238E27FC236}">
                <a16:creationId xmlns:a16="http://schemas.microsoft.com/office/drawing/2014/main" id="{D6F16A50-54BB-D4EC-78A3-E87670BA24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57331"/>
            <a:ext cx="11233150" cy="933853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Headline, Calibri Bold 32 pt.</a:t>
            </a:r>
          </a:p>
        </p:txBody>
      </p:sp>
    </p:spTree>
    <p:extLst>
      <p:ext uri="{BB962C8B-B14F-4D97-AF65-F5344CB8AC3E}">
        <p14:creationId xmlns:p14="http://schemas.microsoft.com/office/powerpoint/2010/main" val="28823256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7">
            <a:extLst>
              <a:ext uri="{FF2B5EF4-FFF2-40B4-BE49-F238E27FC236}">
                <a16:creationId xmlns:a16="http://schemas.microsoft.com/office/drawing/2014/main" id="{FDCB1ACC-B171-FB52-94B8-8B33827268D9}"/>
              </a:ext>
            </a:extLst>
          </p:cNvPr>
          <p:cNvSpPr/>
          <p:nvPr userDrawn="1"/>
        </p:nvSpPr>
        <p:spPr>
          <a:xfrm>
            <a:off x="-1" y="1236663"/>
            <a:ext cx="6051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173AE7E-6BF4-3857-0846-5832DE771A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0418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73AE7E-6BF4-3857-0846-5832DE771A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FE57BDA-77E8-AC3F-7AE9-C5D9FD1969F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9425" y="1245132"/>
            <a:ext cx="5571576" cy="4944000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66C9420-369E-F800-839A-180CB3D30F90}"/>
              </a:ext>
            </a:extLst>
          </p:cNvPr>
          <p:cNvSpPr/>
          <p:nvPr userDrawn="1"/>
        </p:nvSpPr>
        <p:spPr>
          <a:xfrm>
            <a:off x="6141001" y="1245132"/>
            <a:ext cx="6051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C0204F2-6610-825D-57D1-47E93419DF3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500999" y="1449388"/>
            <a:ext cx="5211576" cy="4535487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E33153EC-9466-0585-F3F3-0D32E7069856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itel 1">
            <a:extLst>
              <a:ext uri="{FF2B5EF4-FFF2-40B4-BE49-F238E27FC236}">
                <a16:creationId xmlns:a16="http://schemas.microsoft.com/office/drawing/2014/main" id="{4DBB9A3A-D16E-992D-2BAF-DA8FD05BA4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57331"/>
            <a:ext cx="11233150" cy="933853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Headline, Calibri Bold 32 pt.</a:t>
            </a:r>
          </a:p>
        </p:txBody>
      </p:sp>
    </p:spTree>
    <p:extLst>
      <p:ext uri="{BB962C8B-B14F-4D97-AF65-F5344CB8AC3E}">
        <p14:creationId xmlns:p14="http://schemas.microsoft.com/office/powerpoint/2010/main" val="28172504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8">
            <a:extLst>
              <a:ext uri="{FF2B5EF4-FFF2-40B4-BE49-F238E27FC236}">
                <a16:creationId xmlns:a16="http://schemas.microsoft.com/office/drawing/2014/main" id="{2EF495A5-E9DF-91A1-4F18-3DF483CBF43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 flipH="1">
            <a:off x="1" y="1245132"/>
            <a:ext cx="12192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561811C-B92C-E2EC-A7A9-CD6989E0E3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EF3C51-E6ED-BA5B-68D2-BA84166B11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8" name="Gerader Verbinder 2">
            <a:extLst>
              <a:ext uri="{FF2B5EF4-FFF2-40B4-BE49-F238E27FC236}">
                <a16:creationId xmlns:a16="http://schemas.microsoft.com/office/drawing/2014/main" id="{507FEB6B-80A6-96E5-619C-FD3A087A958D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" name="Table Placeholder 5">
            <a:extLst>
              <a:ext uri="{FF2B5EF4-FFF2-40B4-BE49-F238E27FC236}">
                <a16:creationId xmlns:a16="http://schemas.microsoft.com/office/drawing/2014/main" id="{D45A0449-F0E6-C1E7-027D-F186EAA203B3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79425" y="2188469"/>
            <a:ext cx="11233150" cy="3796406"/>
          </a:xfrm>
        </p:spPr>
        <p:txBody>
          <a:bodyPr/>
          <a:lstStyle>
            <a:lvl1pPr>
              <a:defRPr sz="2400"/>
            </a:lvl1pPr>
          </a:lstStyle>
          <a:p>
            <a:endParaRPr lang="de-DE" dirty="0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9308A73F-960F-3E3E-B421-1D1F593198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1449388"/>
            <a:ext cx="11233150" cy="422084"/>
          </a:xfrm>
        </p:spPr>
        <p:txBody>
          <a:bodyPr anchor="t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Headline, one lin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EFD3387B-CA6E-44B0-A1F8-D4945783E4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57331"/>
            <a:ext cx="11233150" cy="933853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Headline, Calibri Bold 32 pt.</a:t>
            </a:r>
          </a:p>
        </p:txBody>
      </p:sp>
    </p:spTree>
    <p:extLst>
      <p:ext uri="{BB962C8B-B14F-4D97-AF65-F5344CB8AC3E}">
        <p14:creationId xmlns:p14="http://schemas.microsoft.com/office/powerpoint/2010/main" val="8650376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2891E0-6769-581B-3A01-4B59A82ED5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6" y="1996098"/>
            <a:ext cx="5998633" cy="1354217"/>
          </a:xfrm>
        </p:spPr>
        <p:txBody>
          <a:bodyPr anchor="ctr">
            <a:noAutofit/>
          </a:bodyPr>
          <a:lstStyle>
            <a:lvl1pPr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anke für </a:t>
            </a:r>
            <a:r>
              <a:rPr lang="en-US" dirty="0" err="1"/>
              <a:t>Ihr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Aufmerksamkeit</a:t>
            </a:r>
            <a:r>
              <a:rPr lang="en-US" dirty="0"/>
              <a:t>!</a:t>
            </a:r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F2E3BC02-4074-A23B-95D9-93A3CE19A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486" y="1801122"/>
            <a:ext cx="5998633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99E0EB6F-EDC1-CEC6-4D6B-4A3709A8C6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486" y="3526437"/>
            <a:ext cx="5998633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pic>
        <p:nvPicPr>
          <p:cNvPr id="3" name="Grafik 13">
            <a:extLst>
              <a:ext uri="{FF2B5EF4-FFF2-40B4-BE49-F238E27FC236}">
                <a16:creationId xmlns:a16="http://schemas.microsoft.com/office/drawing/2014/main" id="{CC006CF4-87AA-3B20-59C4-C4F5C9445608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44001" y="480923"/>
            <a:ext cx="1967998" cy="81307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4F198FB-0A83-ECFD-2EE2-71D1DC46E9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1013" y="3749294"/>
            <a:ext cx="11231562" cy="2320925"/>
          </a:xfrm>
        </p:spPr>
        <p:txBody>
          <a:bodyPr anchor="b" anchorCtr="0"/>
          <a:lstStyle>
            <a:lvl1pPr>
              <a:defRPr u="none"/>
            </a:lvl1pPr>
          </a:lstStyle>
          <a:p>
            <a:r>
              <a:rPr lang="en-US" dirty="0"/>
              <a:t>Do you have any questions or comments?</a:t>
            </a:r>
          </a:p>
          <a:p>
            <a:endParaRPr lang="en-US" dirty="0"/>
          </a:p>
          <a:p>
            <a:r>
              <a:rPr lang="en-US" dirty="0"/>
              <a:t>Name</a:t>
            </a:r>
            <a:br>
              <a:rPr lang="en-US" dirty="0"/>
            </a:br>
            <a:r>
              <a:rPr lang="en-US" dirty="0">
                <a:hlinkClick r:id="rId3"/>
              </a:rPr>
              <a:t>firstname.lastname@agora-agrar.de</a:t>
            </a:r>
            <a:endParaRPr lang="en-US" dirty="0"/>
          </a:p>
          <a:p>
            <a:r>
              <a:rPr lang="en-US" dirty="0"/>
              <a:t>www.agora-agrar.de</a:t>
            </a:r>
          </a:p>
        </p:txBody>
      </p:sp>
    </p:spTree>
    <p:extLst>
      <p:ext uri="{BB962C8B-B14F-4D97-AF65-F5344CB8AC3E}">
        <p14:creationId xmlns:p14="http://schemas.microsoft.com/office/powerpoint/2010/main" val="2536255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7EA638DC-C76A-90EA-44C6-17E31D1B9EE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CC9900"/>
              </a:gs>
              <a:gs pos="0">
                <a:srgbClr val="EAAD12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2891E0-6769-581B-3A01-4B59A82ED5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5" y="2040640"/>
            <a:ext cx="8640232" cy="677108"/>
          </a:xfrm>
        </p:spPr>
        <p:txBody>
          <a:bodyPr anchor="ctr"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F2E3BC02-4074-A23B-95D9-93A3CE19A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485" y="1855047"/>
            <a:ext cx="8640232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99E0EB6F-EDC1-CEC6-4D6B-4A3709A8C6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2884487"/>
            <a:ext cx="8640232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2770626-14E2-2D9E-15E8-52327B9B17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485" y="3147762"/>
            <a:ext cx="8640232" cy="2187619"/>
          </a:xfrm>
        </p:spPr>
        <p:txBody>
          <a:bodyPr/>
          <a:lstStyle>
            <a:lvl1pPr marL="360000" indent="-360000">
              <a:buSzPct val="130000"/>
              <a:buFont typeface="Symbol" panose="05050102010706020507" pitchFamily="18" charset="2"/>
              <a:buChar char="-"/>
              <a:defRPr sz="2400">
                <a:solidFill>
                  <a:schemeClr val="bg1"/>
                </a:solidFill>
              </a:defRPr>
            </a:lvl1pPr>
            <a:lvl2pPr marL="810000" indent="-360000">
              <a:buClr>
                <a:schemeClr val="bg1"/>
              </a:buClr>
              <a:buFont typeface="+mj-lt"/>
              <a:buAutoNum type="alphaLcPeriod"/>
              <a:defRPr sz="2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ject 1</a:t>
            </a:r>
          </a:p>
        </p:txBody>
      </p:sp>
      <p:sp>
        <p:nvSpPr>
          <p:cNvPr id="12" name="Textplatzhalter 21">
            <a:extLst>
              <a:ext uri="{FF2B5EF4-FFF2-40B4-BE49-F238E27FC236}">
                <a16:creationId xmlns:a16="http://schemas.microsoft.com/office/drawing/2014/main" id="{8FBD042B-E66C-AE95-5861-4EA95F5CBD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0485" y="5598657"/>
            <a:ext cx="8640232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639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BC1508-C310-9FF0-5362-BC49ECE4D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5" y="607766"/>
            <a:ext cx="8640232" cy="677108"/>
          </a:xfrm>
        </p:spPr>
        <p:txBody>
          <a:bodyPr anchor="ctr">
            <a:noAutofit/>
          </a:bodyPr>
          <a:lstStyle>
            <a:lvl1pPr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Impressum</a:t>
            </a:r>
            <a:endParaRPr lang="en-US" dirty="0"/>
          </a:p>
        </p:txBody>
      </p:sp>
      <p:sp>
        <p:nvSpPr>
          <p:cNvPr id="3" name="Textplatzhalter 21">
            <a:extLst>
              <a:ext uri="{FF2B5EF4-FFF2-40B4-BE49-F238E27FC236}">
                <a16:creationId xmlns:a16="http://schemas.microsoft.com/office/drawing/2014/main" id="{70B9CBE5-72F4-E8A4-A9F6-C3C7B8BB85D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485" y="422173"/>
            <a:ext cx="11232000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5" name="Textplatzhalter 21">
            <a:extLst>
              <a:ext uri="{FF2B5EF4-FFF2-40B4-BE49-F238E27FC236}">
                <a16:creationId xmlns:a16="http://schemas.microsoft.com/office/drawing/2014/main" id="{044DD845-DEB2-9A04-A0D8-BDA26A2525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451613"/>
            <a:ext cx="11232000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A776B1FB-FED3-EB55-44CF-5E3D25A27DBE}"/>
              </a:ext>
            </a:extLst>
          </p:cNvPr>
          <p:cNvSpPr txBox="1">
            <a:spLocks/>
          </p:cNvSpPr>
          <p:nvPr userDrawn="1"/>
        </p:nvSpPr>
        <p:spPr>
          <a:xfrm>
            <a:off x="480486" y="3230310"/>
            <a:ext cx="5400000" cy="283147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-45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Calibri" panose="020F0502020204030204" pitchFamily="34" charset="0"/>
              <a:buChar char="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900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b="1" dirty="0"/>
              <a:t>Agora </a:t>
            </a:r>
            <a:r>
              <a:rPr lang="en-US" b="1" dirty="0" err="1"/>
              <a:t>Agrar</a:t>
            </a:r>
            <a:r>
              <a:rPr lang="en-US" b="1" dirty="0"/>
              <a:t> </a:t>
            </a:r>
          </a:p>
          <a:p>
            <a:pPr>
              <a:lnSpc>
                <a:spcPct val="100000"/>
              </a:lnSpc>
            </a:pPr>
            <a:r>
              <a:rPr lang="en-US" dirty="0"/>
              <a:t>Agora Think Tanks </a:t>
            </a:r>
            <a:r>
              <a:rPr lang="en-US" dirty="0" err="1"/>
              <a:t>gGmbH</a:t>
            </a:r>
            <a:br>
              <a:rPr lang="en-US" dirty="0"/>
            </a:br>
            <a:r>
              <a:rPr lang="en-US" dirty="0"/>
              <a:t>Anna-Louisa-</a:t>
            </a:r>
            <a:r>
              <a:rPr lang="en-US" dirty="0" err="1"/>
              <a:t>Karsch</a:t>
            </a:r>
            <a:r>
              <a:rPr lang="en-US" dirty="0"/>
              <a:t>-</a:t>
            </a:r>
            <a:r>
              <a:rPr lang="en-US" dirty="0" err="1"/>
              <a:t>Straße</a:t>
            </a:r>
            <a:r>
              <a:rPr lang="en-US" dirty="0"/>
              <a:t> 2</a:t>
            </a:r>
            <a:br>
              <a:rPr lang="en-US" dirty="0"/>
            </a:br>
            <a:r>
              <a:rPr lang="en-US" dirty="0"/>
              <a:t>D-10178 Berlin</a:t>
            </a:r>
            <a:br>
              <a:rPr lang="en-US" dirty="0"/>
            </a:br>
            <a:r>
              <a:rPr lang="en-US" dirty="0"/>
              <a:t>T +49 (0) 30 700 1435-000</a:t>
            </a:r>
          </a:p>
          <a:p>
            <a:pPr>
              <a:lnSpc>
                <a:spcPct val="100000"/>
              </a:lnSpc>
            </a:pPr>
            <a:r>
              <a:rPr lang="en-US" dirty="0"/>
              <a:t>www.agora-agrar.de</a:t>
            </a:r>
            <a:br>
              <a:rPr lang="en-US" dirty="0"/>
            </a:br>
            <a:r>
              <a:rPr lang="en-US" dirty="0"/>
              <a:t>info@agora-agrar.d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A9F1979-32DE-3228-E9F1-195D0A3A60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11900" y="2252649"/>
            <a:ext cx="5532438" cy="3811473"/>
          </a:xfrm>
        </p:spPr>
        <p:txBody>
          <a:bodyPr anchor="b" anchorCtr="0"/>
          <a:lstStyle>
            <a:lvl1pPr>
              <a:defRPr b="0">
                <a:latin typeface="+mn-lt"/>
              </a:defRPr>
            </a:lvl1pPr>
          </a:lstStyle>
          <a:p>
            <a:pPr>
              <a:lnSpc>
                <a:spcPct val="100000"/>
              </a:lnSpc>
            </a:pPr>
            <a:r>
              <a:rPr lang="en-US" b="1" dirty="0" err="1"/>
              <a:t>Projektleitung</a:t>
            </a:r>
            <a:br>
              <a:rPr lang="en-US" b="1" dirty="0"/>
            </a:br>
            <a:r>
              <a:rPr lang="en-US" dirty="0"/>
              <a:t>Person 1</a:t>
            </a:r>
            <a:br>
              <a:rPr lang="en-US" dirty="0"/>
            </a:br>
            <a:r>
              <a:rPr lang="en-US" dirty="0"/>
              <a:t>mail@agora-agrar.de</a:t>
            </a:r>
          </a:p>
          <a:p>
            <a:pPr>
              <a:lnSpc>
                <a:spcPct val="100000"/>
              </a:lnSpc>
            </a:pPr>
            <a:r>
              <a:rPr lang="en-US" b="1" dirty="0"/>
              <a:t>Autor*</a:t>
            </a:r>
            <a:r>
              <a:rPr lang="en-US" b="1" dirty="0" err="1"/>
              <a:t>innen</a:t>
            </a:r>
            <a:br>
              <a:rPr lang="en-US" dirty="0"/>
            </a:br>
            <a:r>
              <a:rPr lang="en-US" dirty="0"/>
              <a:t>Person 1 (Agora </a:t>
            </a:r>
            <a:r>
              <a:rPr lang="en-US" dirty="0" err="1"/>
              <a:t>Agrar</a:t>
            </a:r>
            <a:r>
              <a:rPr lang="en-US" dirty="0"/>
              <a:t>)</a:t>
            </a:r>
            <a:br>
              <a:rPr lang="en-US" dirty="0"/>
            </a:br>
            <a:r>
              <a:rPr lang="en-US" dirty="0"/>
              <a:t>Person 2 (Agora </a:t>
            </a:r>
            <a:r>
              <a:rPr lang="en-US" dirty="0" err="1"/>
              <a:t>Agrar</a:t>
            </a:r>
            <a:r>
              <a:rPr lang="en-US" dirty="0"/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dirty="0" err="1"/>
              <a:t>Danksagung</a:t>
            </a:r>
            <a:br>
              <a:rPr lang="en-US" b="1" dirty="0"/>
            </a:br>
            <a:r>
              <a:rPr lang="en-US" dirty="0"/>
              <a:t>Special thanks to: Person 1, Person 2, Person 3 (all Agora </a:t>
            </a:r>
            <a:r>
              <a:rPr lang="en-US" dirty="0" err="1"/>
              <a:t>Agrar</a:t>
            </a:r>
            <a:r>
              <a:rPr lang="en-US" dirty="0"/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dirty="0" err="1"/>
              <a:t>Titelbild</a:t>
            </a:r>
            <a:r>
              <a:rPr lang="en-US" b="1" dirty="0"/>
              <a:t>: </a:t>
            </a:r>
            <a:r>
              <a:rPr lang="en-US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36081793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275E7EF2-6312-D3E0-1702-5C825905BAD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CC9900"/>
              </a:gs>
              <a:gs pos="0">
                <a:srgbClr val="EAAD12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2891E0-6769-581B-3A01-4B59A82ED5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5" y="2422765"/>
            <a:ext cx="8640232" cy="2031325"/>
          </a:xfrm>
        </p:spPr>
        <p:txBody>
          <a:bodyPr anchor="ctr"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ubject 1:</a:t>
            </a:r>
            <a:br>
              <a:rPr lang="en-US" dirty="0"/>
            </a:br>
            <a:r>
              <a:rPr lang="en-US" dirty="0"/>
              <a:t>Use this slide to </a:t>
            </a:r>
            <a:br>
              <a:rPr lang="en-US" dirty="0"/>
            </a:br>
            <a:r>
              <a:rPr lang="en-US" dirty="0"/>
              <a:t>introduce the subject</a:t>
            </a:r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F2E3BC02-4074-A23B-95D9-93A3CE19A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485" y="2242571"/>
            <a:ext cx="8640232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99E0EB6F-EDC1-CEC6-4D6B-4A3709A8C6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4615429"/>
            <a:ext cx="8640232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28871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0552FF8-BF2B-CEDA-65FB-AF1F982EB7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2412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552FF8-BF2B-CEDA-65FB-AF1F982EB7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2891E0-6769-581B-3A01-4B59A82ED5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Headline, Calibri Bold 28 pt.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620C97-97EC-18CA-F13B-563A37CC6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8D55303-1AB7-26C0-18F2-E8A8B4BDA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C08DD4-DBA3-DDA7-F3CA-0B46FED06854}"/>
              </a:ext>
            </a:extLst>
          </p:cNvPr>
          <p:cNvSpPr/>
          <p:nvPr userDrawn="1"/>
        </p:nvSpPr>
        <p:spPr>
          <a:xfrm>
            <a:off x="1" y="1245132"/>
            <a:ext cx="12191999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41E88851-7E55-6342-D36D-F69A55D1D035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85359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n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1D4FE54-7F6A-CBD5-8B68-AAB765822A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988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D4FE54-7F6A-CBD5-8B68-AAB765822A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F990A58B-299C-E72A-C272-3A6F512CD76E}"/>
              </a:ext>
            </a:extLst>
          </p:cNvPr>
          <p:cNvSpPr/>
          <p:nvPr userDrawn="1"/>
        </p:nvSpPr>
        <p:spPr>
          <a:xfrm>
            <a:off x="1" y="1245132"/>
            <a:ext cx="12191999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798E78-D798-339A-B7B4-ACF128101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Headline, Calibri Bold 28 pt.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56640E8-8B14-2A60-7CFE-3A33E1B816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5519" y="1503841"/>
            <a:ext cx="10727056" cy="907941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 dirty="0"/>
              <a:t>First level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BE5246FD-FBFC-297F-B27D-B7F9198C08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85519" y="2616361"/>
            <a:ext cx="10727056" cy="907941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First level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70D70DD8-F961-6AFD-EB02-0B7F2FD1730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5519" y="3728881"/>
            <a:ext cx="10727056" cy="907941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First level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5765CB7A-5B6D-C81F-6FD6-6A11DFAC71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5519" y="4841401"/>
            <a:ext cx="10727056" cy="907941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First level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C19B745-0B0B-7A95-8FE6-21B00CA222D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1449388"/>
            <a:ext cx="343535" cy="907941"/>
          </a:xfrm>
        </p:spPr>
        <p:txBody>
          <a:bodyPr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/>
              <a:t>1</a:t>
            </a:r>
            <a:endParaRPr lang="en-US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B3617C7A-DE37-529E-3556-64392F5BCB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2561908"/>
            <a:ext cx="343535" cy="907941"/>
          </a:xfrm>
        </p:spPr>
        <p:txBody>
          <a:bodyPr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2</a:t>
            </a:r>
            <a:endParaRPr lang="en-US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16128BF8-E97B-B79C-C81E-B961122CCD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3674428"/>
            <a:ext cx="343535" cy="907941"/>
          </a:xfrm>
        </p:spPr>
        <p:txBody>
          <a:bodyPr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3</a:t>
            </a:r>
            <a:endParaRPr lang="en-US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EF6FBBA2-CA88-9C02-1A5E-E671580564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425" y="4786948"/>
            <a:ext cx="343535" cy="907941"/>
          </a:xfrm>
        </p:spPr>
        <p:txBody>
          <a:bodyPr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4</a:t>
            </a:r>
            <a:endParaRPr lang="en-US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2A7487F5-B0B0-6F2A-84CD-C7E67C75D994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21490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A182DB2-F556-ACC4-80ED-F0A58F850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025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182DB2-F556-ACC4-80ED-F0A58F850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F990A58B-299C-E72A-C272-3A6F512CD76E}"/>
              </a:ext>
            </a:extLst>
          </p:cNvPr>
          <p:cNvSpPr/>
          <p:nvPr userDrawn="1"/>
        </p:nvSpPr>
        <p:spPr>
          <a:xfrm>
            <a:off x="1" y="1245132"/>
            <a:ext cx="12191999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798E78-D798-339A-B7B4-ACF128101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Headline, Calibri Bold 28 pt.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ADF188-A1B5-A648-F546-4A32549B36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1449388"/>
            <a:ext cx="9451775" cy="4535487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Nr.›</a:t>
            </a:fld>
            <a:endParaRPr lang="en-US" dirty="0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3F7E1BD6-E0BD-5560-DE9A-B0B712F14FCA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3768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D26823F-BCD5-638B-9DFB-56065293E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8258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26823F-BCD5-638B-9DFB-56065293E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52FE2163-E4DF-4DFC-90A8-662C68072EEB}"/>
              </a:ext>
            </a:extLst>
          </p:cNvPr>
          <p:cNvSpPr/>
          <p:nvPr userDrawn="1"/>
        </p:nvSpPr>
        <p:spPr>
          <a:xfrm flipH="1">
            <a:off x="1" y="1245132"/>
            <a:ext cx="12192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798E78-D798-339A-B7B4-ACF1281018F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Headline, Calibri Bold 28 pt.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47E97C24-11B7-004C-11B4-5AD1765FD6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1449388"/>
            <a:ext cx="11233150" cy="553998"/>
          </a:xfrm>
        </p:spPr>
        <p:txBody>
          <a:bodyPr anchor="t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Headline, two lin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C0A2F8F-3922-5F0B-A76C-9D952C7FF47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2133600"/>
            <a:ext cx="11233150" cy="3851275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FEAB162F-89EF-B930-2D02-C169B264CBA2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1533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text (2/3 &amp;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769F275-A911-3D10-6243-314B5FF460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6742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69F275-A911-3D10-6243-314B5FF46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52FE2163-E4DF-4DFC-90A8-662C68072EEB}"/>
              </a:ext>
            </a:extLst>
          </p:cNvPr>
          <p:cNvSpPr/>
          <p:nvPr userDrawn="1"/>
        </p:nvSpPr>
        <p:spPr>
          <a:xfrm>
            <a:off x="8188001" y="1245132"/>
            <a:ext cx="4004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90D187E5-01BB-EBE4-D7F5-01378DC00073}"/>
              </a:ext>
            </a:extLst>
          </p:cNvPr>
          <p:cNvSpPr/>
          <p:nvPr userDrawn="1"/>
        </p:nvSpPr>
        <p:spPr>
          <a:xfrm>
            <a:off x="1" y="1245132"/>
            <a:ext cx="8098000" cy="4944000"/>
          </a:xfrm>
          <a:custGeom>
            <a:avLst/>
            <a:gdLst>
              <a:gd name="connsiteX0" fmla="*/ 0 w 8098000"/>
              <a:gd name="connsiteY0" fmla="*/ 0 h 4944000"/>
              <a:gd name="connsiteX1" fmla="*/ 4094000 w 8098000"/>
              <a:gd name="connsiteY1" fmla="*/ 0 h 4944000"/>
              <a:gd name="connsiteX2" fmla="*/ 5211576 w 8098000"/>
              <a:gd name="connsiteY2" fmla="*/ 0 h 4944000"/>
              <a:gd name="connsiteX3" fmla="*/ 8098000 w 8098000"/>
              <a:gd name="connsiteY3" fmla="*/ 0 h 4944000"/>
              <a:gd name="connsiteX4" fmla="*/ 8098000 w 8098000"/>
              <a:gd name="connsiteY4" fmla="*/ 4944000 h 4944000"/>
              <a:gd name="connsiteX5" fmla="*/ 5211576 w 8098000"/>
              <a:gd name="connsiteY5" fmla="*/ 4944000 h 4944000"/>
              <a:gd name="connsiteX6" fmla="*/ 4094000 w 8098000"/>
              <a:gd name="connsiteY6" fmla="*/ 4944000 h 4944000"/>
              <a:gd name="connsiteX7" fmla="*/ 0 w 8098000"/>
              <a:gd name="connsiteY7" fmla="*/ 4944000 h 4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98000" h="4944000">
                <a:moveTo>
                  <a:pt x="0" y="0"/>
                </a:moveTo>
                <a:lnTo>
                  <a:pt x="4094000" y="0"/>
                </a:lnTo>
                <a:lnTo>
                  <a:pt x="5211576" y="0"/>
                </a:lnTo>
                <a:lnTo>
                  <a:pt x="8098000" y="0"/>
                </a:lnTo>
                <a:lnTo>
                  <a:pt x="8098000" y="4944000"/>
                </a:lnTo>
                <a:lnTo>
                  <a:pt x="5211576" y="4944000"/>
                </a:lnTo>
                <a:lnTo>
                  <a:pt x="4094000" y="4944000"/>
                </a:lnTo>
                <a:lnTo>
                  <a:pt x="0" y="4944000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798E78-D798-339A-B7B4-ACF128101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Headline, Calibri Bold 28 pt.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ADF188-A1B5-A648-F546-4A32549B36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2133600"/>
            <a:ext cx="7258576" cy="3851275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AB006D9-056C-E47C-6421-8A9ADA295C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48001" y="1449388"/>
            <a:ext cx="3164574" cy="4535487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platzhalter 13">
            <a:extLst>
              <a:ext uri="{FF2B5EF4-FFF2-40B4-BE49-F238E27FC236}">
                <a16:creationId xmlns:a16="http://schemas.microsoft.com/office/drawing/2014/main" id="{DC325EF3-8974-A60A-08D5-2E07BE81C4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449388"/>
            <a:ext cx="7258576" cy="553998"/>
          </a:xfrm>
        </p:spPr>
        <p:txBody>
          <a:bodyPr anchor="t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Headline, two lines</a:t>
            </a:r>
            <a:endParaRPr lang="en-US" dirty="0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95F0CC60-CC73-8489-CFFD-D33A751721DD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55927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9.xml"/><Relationship Id="rId16" Type="http://schemas.openxmlformats.org/officeDocument/2006/relationships/oleObject" Target="../embeddings/oleObject11.bin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347C0BC-EFAF-1946-4103-3E57B1095B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242854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532" imgH="532" progId="TCLayout.ActiveDocument.1">
                  <p:embed/>
                </p:oleObj>
              </mc:Choice>
              <mc:Fallback>
                <p:oleObj name="think-cell Folie" r:id="rId20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47C0BC-EFAF-1946-4103-3E57B1095B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DC40CE4-C72F-9A18-109A-39C33FB0E5A4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79425" y="268130"/>
            <a:ext cx="11233150" cy="77559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Headline, Calibri Bold 28 pt.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DAE14C2-5748-88AE-4BC1-2C892AEB0DF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79425" y="1449388"/>
            <a:ext cx="11233150" cy="45354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D444540-2C15-DCF3-E7C3-1167820B367B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579120" y="6456364"/>
            <a:ext cx="9352080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88D1B0D-6FFF-8CC9-CBB3-F16E03BF47F4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59545" y="6456365"/>
            <a:ext cx="239794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51F35B65-CD21-425F-97D0-5949E77A4E9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AB8F2F5E-DBCE-F543-6434-5BAA1672E840}"/>
              </a:ext>
            </a:extLst>
          </p:cNvPr>
          <p:cNvSpPr txBox="1">
            <a:spLocks/>
          </p:cNvSpPr>
          <p:nvPr userDrawn="1"/>
        </p:nvSpPr>
        <p:spPr>
          <a:xfrm>
            <a:off x="457202" y="6439696"/>
            <a:ext cx="45719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|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4309743-405A-5C2E-1921-7485D311BCFB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9925" y="6342037"/>
            <a:ext cx="901701" cy="372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26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5" r:id="rId3"/>
    <p:sldLayoutId id="2147483666" r:id="rId4"/>
    <p:sldLayoutId id="2147483654" r:id="rId5"/>
    <p:sldLayoutId id="2147483667" r:id="rId6"/>
    <p:sldLayoutId id="2147483650" r:id="rId7"/>
    <p:sldLayoutId id="2147483668" r:id="rId8"/>
    <p:sldLayoutId id="2147483658" r:id="rId9"/>
    <p:sldLayoutId id="2147483660" r:id="rId10"/>
    <p:sldLayoutId id="2147483659" r:id="rId11"/>
    <p:sldLayoutId id="2147483670" r:id="rId12"/>
    <p:sldLayoutId id="2147483672" r:id="rId13"/>
    <p:sldLayoutId id="2147483698" r:id="rId14"/>
    <p:sldLayoutId id="2147483700" r:id="rId15"/>
    <p:sldLayoutId id="2147483673" r:id="rId16"/>
    <p:sldLayoutId id="2147483674" r:id="rId1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ts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SzPct val="130000"/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5000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28650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65000"/>
            <a:lumOff val="35000"/>
          </a:schemeClr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10000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>
            <a:lumMod val="65000"/>
          </a:schemeClr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3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377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C43977B-CC06-6FC1-4B0C-8153C8776C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9652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532" imgH="532" progId="TCLayout.ActiveDocument.1">
                  <p:embed/>
                </p:oleObj>
              </mc:Choice>
              <mc:Fallback>
                <p:oleObj name="think-cell Folie" r:id="rId16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43977B-CC06-6FC1-4B0C-8153C8776C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DC40CE4-C72F-9A18-109A-39C33FB0E5A4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79425" y="157331"/>
            <a:ext cx="11233150" cy="88639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Headline, Calibri Bold 32 pt.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DAE14C2-5748-88AE-4BC1-2C892AEB0DF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79425" y="1449388"/>
            <a:ext cx="11233150" cy="45354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D444540-2C15-DCF3-E7C3-1167820B367B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579120" y="6456364"/>
            <a:ext cx="9352080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88D1B0D-6FFF-8CC9-CBB3-F16E03BF47F4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59545" y="6456365"/>
            <a:ext cx="239794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51F35B65-CD21-425F-97D0-5949E77A4E9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AB8F2F5E-DBCE-F543-6434-5BAA1672E840}"/>
              </a:ext>
            </a:extLst>
          </p:cNvPr>
          <p:cNvSpPr txBox="1">
            <a:spLocks/>
          </p:cNvSpPr>
          <p:nvPr userDrawn="1"/>
        </p:nvSpPr>
        <p:spPr>
          <a:xfrm>
            <a:off x="457202" y="6439696"/>
            <a:ext cx="45719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|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4309743-405A-5C2E-1921-7485D311BCFB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9925" y="6342037"/>
            <a:ext cx="901701" cy="372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72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8" r:id="rId2"/>
    <p:sldLayoutId id="2147483679" r:id="rId3"/>
    <p:sldLayoutId id="2147483680" r:id="rId4"/>
    <p:sldLayoutId id="2147483681" r:id="rId5"/>
    <p:sldLayoutId id="2147483683" r:id="rId6"/>
    <p:sldLayoutId id="2147483682" r:id="rId7"/>
    <p:sldLayoutId id="2147483691" r:id="rId8"/>
    <p:sldLayoutId id="2147483685" r:id="rId9"/>
    <p:sldLayoutId id="2147483695" r:id="rId10"/>
    <p:sldLayoutId id="2147483699" r:id="rId11"/>
    <p:sldLayoutId id="2147483696" r:id="rId12"/>
    <p:sldLayoutId id="2147483697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ts val="0"/>
        </a:spcBef>
        <a:buNone/>
        <a:defRPr sz="3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SzPct val="130000"/>
        <a:buFont typeface="Symbol" panose="05050102010706020507" pitchFamily="18" charset="2"/>
        <a:buChar char="-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630000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75000"/>
            <a:lumOff val="25000"/>
          </a:schemeClr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3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37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4">
            <a:extLst>
              <a:ext uri="{FF2B5EF4-FFF2-40B4-BE49-F238E27FC236}">
                <a16:creationId xmlns:a16="http://schemas.microsoft.com/office/drawing/2014/main" id="{F884B8DE-0066-A761-D518-00B434C7FF20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28" r="17028"/>
          <a:stretch/>
        </p:blipFill>
        <p:spPr>
          <a:xfrm>
            <a:off x="1805" y="1"/>
            <a:ext cx="9118195" cy="6857999"/>
          </a:xfrm>
          <a:prstGeom prst="rect">
            <a:avLst/>
          </a:prstGeom>
        </p:spPr>
      </p:pic>
      <p:pic>
        <p:nvPicPr>
          <p:cNvPr id="16" name="Grafik 8">
            <a:extLst>
              <a:ext uri="{FF2B5EF4-FFF2-40B4-BE49-F238E27FC236}">
                <a16:creationId xmlns:a16="http://schemas.microsoft.com/office/drawing/2014/main" id="{27F4E168-BBF9-4116-B41E-43425F57B608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18" r="12630"/>
          <a:stretch>
            <a:fillRect/>
          </a:stretch>
        </p:blipFill>
        <p:spPr>
          <a:xfrm>
            <a:off x="0" y="-1"/>
            <a:ext cx="9118195" cy="6857999"/>
          </a:xfrm>
          <a:prstGeom prst="rect">
            <a:avLst/>
          </a:prstGeom>
        </p:spPr>
      </p:pic>
      <p:sp>
        <p:nvSpPr>
          <p:cNvPr id="4" name="Rechteck 7">
            <a:extLst>
              <a:ext uri="{FF2B5EF4-FFF2-40B4-BE49-F238E27FC236}">
                <a16:creationId xmlns:a16="http://schemas.microsoft.com/office/drawing/2014/main" id="{FEE96C12-4527-45B7-D03D-A15E7395602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120000" y="0"/>
            <a:ext cx="3072000" cy="6858000"/>
          </a:xfrm>
          <a:prstGeom prst="rect">
            <a:avLst/>
          </a:prstGeom>
          <a:gradFill>
            <a:gsLst>
              <a:gs pos="48000">
                <a:srgbClr val="FFFFFF"/>
              </a:gs>
              <a:gs pos="0">
                <a:schemeClr val="bg1">
                  <a:alpha val="93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 dirty="0"/>
          </a:p>
        </p:txBody>
      </p:sp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EC740B42-561F-DE14-C9DF-98ED4721BE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7639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532" imgH="532" progId="TCLayout.ActiveDocument.1">
                  <p:embed/>
                </p:oleObj>
              </mc:Choice>
              <mc:Fallback>
                <p:oleObj name="think-cell Folie" r:id="rId6" imgW="532" imgH="532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740B42-561F-DE14-C9DF-98ED4721BE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E111744-87C3-D1AA-CDD0-73A6505570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1073963"/>
            <a:ext cx="5998633" cy="1764128"/>
          </a:xfrm>
        </p:spPr>
        <p:txBody>
          <a:bodyPr vert="horz"/>
          <a:lstStyle/>
          <a:p>
            <a:r>
              <a:rPr lang="en-GB" dirty="0"/>
              <a:t>Potential der </a:t>
            </a:r>
            <a:r>
              <a:rPr lang="en-GB" dirty="0" err="1"/>
              <a:t>Bioenergie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D3D2549-7359-CCF6-C71A-8836553B38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3071176"/>
            <a:ext cx="5998633" cy="146926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DCB6578-A936-B5B0-C274-80D67B2547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5" y="896105"/>
            <a:ext cx="5998633" cy="0"/>
          </a:xfrm>
        </p:spPr>
        <p:txBody>
          <a:bodyPr/>
          <a:lstStyle/>
          <a:p>
            <a:r>
              <a:rPr lang="en-US" dirty="0"/>
              <a:t>Last Name Name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91BD2AA5-EB36-1E3F-C018-9E3775E0BD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2957851"/>
            <a:ext cx="5998633" cy="0"/>
          </a:xfrm>
        </p:spPr>
        <p:txBody>
          <a:bodyPr/>
          <a:lstStyle/>
          <a:p>
            <a:r>
              <a:rPr lang="en-US" dirty="0"/>
              <a:t>10th September 2024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043AE77-018E-9E65-CC4E-108F514182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4872629"/>
            <a:ext cx="5998633" cy="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56A10A4B-949A-0215-D524-117468B0365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7032902-7650-F7D3-131F-DE172A10773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18D7B265-8549-DE8E-C015-C8F77855974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670063F1-F66F-6A30-F9DF-C246FF026F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5384305"/>
            <a:ext cx="5998633" cy="307777"/>
          </a:xfrm>
        </p:spPr>
        <p:txBody>
          <a:bodyPr/>
          <a:lstStyle/>
          <a:p>
            <a:r>
              <a:rPr lang="en-US" dirty="0"/>
              <a:t>Harald Grethe und Tom Hollander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BC45214F-0D4A-6385-D3F0-B9B40D0C79A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9425" y="5738654"/>
            <a:ext cx="5998633" cy="246221"/>
          </a:xfrm>
        </p:spPr>
        <p:txBody>
          <a:bodyPr/>
          <a:lstStyle/>
          <a:p>
            <a:r>
              <a:rPr lang="en-US" dirty="0"/>
              <a:t>28. Mai 2026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10A20717-102A-A6CC-8061-867520A9940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44001" y="480923"/>
            <a:ext cx="1967998" cy="813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4669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ABC11FF0-00F4-C4EE-D3D0-4C69DEF784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68130"/>
            <a:ext cx="11233150" cy="775597"/>
          </a:xfrm>
        </p:spPr>
        <p:txBody>
          <a:bodyPr anchor="b">
            <a:normAutofit/>
          </a:bodyPr>
          <a:lstStyle/>
          <a:p>
            <a:r>
              <a:rPr lang="de-DE" dirty="0"/>
              <a:t>Technisches Biomassepotenzial aus Multifunktionalen Substraten (</a:t>
            </a:r>
            <a:r>
              <a:rPr lang="de-DE" dirty="0" err="1"/>
              <a:t>MufuS</a:t>
            </a:r>
            <a:r>
              <a:rPr lang="de-DE" dirty="0"/>
              <a:t>)</a:t>
            </a:r>
            <a:endParaRPr lang="en-GB" dirty="0"/>
          </a:p>
        </p:txBody>
      </p:sp>
      <p:sp>
        <p:nvSpPr>
          <p:cNvPr id="26" name="Footer Placeholder 2">
            <a:extLst>
              <a:ext uri="{FF2B5EF4-FFF2-40B4-BE49-F238E27FC236}">
                <a16:creationId xmlns:a16="http://schemas.microsoft.com/office/drawing/2014/main" id="{8614366E-4871-5A96-0546-6E9EFBCA72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9120" y="6456364"/>
            <a:ext cx="9352080" cy="138499"/>
          </a:xfrm>
        </p:spPr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419942-EAB7-75C6-A27F-734E7DC898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9545" y="6456365"/>
            <a:ext cx="239794" cy="138499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1F35B65-CD21-425F-97D0-5949E77A4E99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C366B971-05AB-C486-2C98-2C95EBFB20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449388"/>
            <a:ext cx="5211576" cy="4535487"/>
          </a:xfrm>
        </p:spPr>
        <p:txBody>
          <a:bodyPr>
            <a:normAutofit fontScale="92500"/>
          </a:bodyPr>
          <a:lstStyle/>
          <a:p>
            <a:pPr lvl="2"/>
            <a:r>
              <a:rPr lang="de-DE" sz="2400" dirty="0"/>
              <a:t>Beispiele für </a:t>
            </a:r>
            <a:r>
              <a:rPr lang="de-DE" sz="2400" dirty="0" err="1"/>
              <a:t>MufuS</a:t>
            </a:r>
            <a:endParaRPr lang="de-DE" sz="2400" dirty="0"/>
          </a:p>
          <a:p>
            <a:pPr lvl="3"/>
            <a:r>
              <a:rPr lang="de-DE" sz="2400" dirty="0"/>
              <a:t>Reststoffe, </a:t>
            </a:r>
          </a:p>
          <a:p>
            <a:pPr lvl="3"/>
            <a:r>
              <a:rPr lang="de-DE" sz="2400" dirty="0"/>
              <a:t>Koppelprodukte,</a:t>
            </a:r>
          </a:p>
          <a:p>
            <a:pPr lvl="3"/>
            <a:r>
              <a:rPr lang="de-DE" sz="2400" dirty="0"/>
              <a:t>Biomasse ohne Nutzungskonkurrenz.</a:t>
            </a:r>
          </a:p>
          <a:p>
            <a:pPr lvl="2"/>
            <a:r>
              <a:rPr lang="en-US" sz="2400" dirty="0" err="1"/>
              <a:t>Aktuelle</a:t>
            </a:r>
            <a:r>
              <a:rPr lang="en-US" sz="2400" dirty="0"/>
              <a:t> </a:t>
            </a:r>
            <a:r>
              <a:rPr lang="en-US" sz="2400" dirty="0" err="1"/>
              <a:t>Biomassepotenziale</a:t>
            </a:r>
            <a:r>
              <a:rPr lang="en-US" sz="2400" dirty="0"/>
              <a:t> </a:t>
            </a:r>
            <a:r>
              <a:rPr lang="en-US" sz="2400" dirty="0" err="1"/>
              <a:t>hinterfragen</a:t>
            </a:r>
            <a:endParaRPr lang="en-US" sz="2400" dirty="0"/>
          </a:p>
          <a:p>
            <a:pPr lvl="3"/>
            <a:r>
              <a:rPr lang="en-US" sz="2400" dirty="0" err="1"/>
              <a:t>Energiepflanzen</a:t>
            </a:r>
            <a:r>
              <a:rPr lang="en-US" sz="2400" dirty="0"/>
              <a:t>,</a:t>
            </a:r>
          </a:p>
          <a:p>
            <a:pPr lvl="3"/>
            <a:r>
              <a:rPr lang="en-US" sz="2400" dirty="0" err="1"/>
              <a:t>Wirtschaftsdünger</a:t>
            </a:r>
            <a:r>
              <a:rPr lang="en-US" sz="2400" dirty="0"/>
              <a:t>,</a:t>
            </a:r>
          </a:p>
          <a:p>
            <a:pPr lvl="3"/>
            <a:r>
              <a:rPr lang="en-US" sz="2400" dirty="0" err="1"/>
              <a:t>Lebensmittelabfälle</a:t>
            </a:r>
            <a:r>
              <a:rPr lang="en-US" sz="2400" dirty="0"/>
              <a:t>.</a:t>
            </a:r>
          </a:p>
          <a:p>
            <a:pPr lvl="2"/>
            <a:r>
              <a:rPr lang="en-US" sz="2400" dirty="0" err="1"/>
              <a:t>Nachhaltiges</a:t>
            </a:r>
            <a:r>
              <a:rPr lang="en-US" sz="2400" dirty="0"/>
              <a:t> </a:t>
            </a:r>
            <a:r>
              <a:rPr lang="en-US" sz="2400" dirty="0" err="1"/>
              <a:t>Biomassepotenzial</a:t>
            </a:r>
            <a:r>
              <a:rPr lang="en-US" sz="2400" dirty="0"/>
              <a:t> </a:t>
            </a:r>
            <a:r>
              <a:rPr lang="en-US" sz="2400" dirty="0" err="1"/>
              <a:t>nur</a:t>
            </a:r>
            <a:r>
              <a:rPr lang="en-US" sz="2400" dirty="0"/>
              <a:t> für </a:t>
            </a:r>
            <a:r>
              <a:rPr lang="en-US" sz="2400" dirty="0" err="1"/>
              <a:t>nachhaltiges</a:t>
            </a:r>
            <a:r>
              <a:rPr lang="en-US" sz="2400" dirty="0"/>
              <a:t> </a:t>
            </a:r>
            <a:r>
              <a:rPr lang="en-US" sz="2400" dirty="0" err="1"/>
              <a:t>Landnutzungsszenario</a:t>
            </a:r>
            <a:r>
              <a:rPr lang="en-US" sz="2400" dirty="0"/>
              <a:t> </a:t>
            </a:r>
            <a:r>
              <a:rPr lang="en-US" sz="2400" dirty="0" err="1"/>
              <a:t>darstellbar</a:t>
            </a:r>
            <a:r>
              <a:rPr lang="en-US" sz="2400" dirty="0"/>
              <a:t>. </a:t>
            </a:r>
          </a:p>
          <a:p>
            <a:pPr lvl="2"/>
            <a:endParaRPr lang="en-US" dirty="0"/>
          </a:p>
          <a:p>
            <a:pPr lvl="3"/>
            <a:endParaRPr lang="en-US" dirty="0"/>
          </a:p>
          <a:p>
            <a:pPr lvl="2"/>
            <a:endParaRPr lang="en-US" dirty="0"/>
          </a:p>
          <a:p>
            <a:pPr lvl="3"/>
            <a:endParaRPr lang="en-US" dirty="0"/>
          </a:p>
        </p:txBody>
      </p:sp>
      <p:pic>
        <p:nvPicPr>
          <p:cNvPr id="14" name="Inhaltsplatzhalter 13" descr="Ein Bild, das Text, Elektronik, Screenshot, Kreis enthält.&#10;&#10;KI-generierte Inhalte können fehlerhaft sein.">
            <a:extLst>
              <a:ext uri="{FF2B5EF4-FFF2-40B4-BE49-F238E27FC236}">
                <a16:creationId xmlns:a16="http://schemas.microsoft.com/office/drawing/2014/main" id="{55F97633-486A-B83C-DC19-682D195EF3E3}"/>
              </a:ext>
            </a:extLst>
          </p:cNvPr>
          <p:cNvPicPr>
            <a:picLocks noGrp="1" noChangeAspect="1"/>
          </p:cNvPicPr>
          <p:nvPr>
            <p:ph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223"/>
          <a:stretch>
            <a:fillRect/>
          </a:stretch>
        </p:blipFill>
        <p:spPr>
          <a:xfrm>
            <a:off x="6915150" y="1257334"/>
            <a:ext cx="4336366" cy="4985422"/>
          </a:xfrm>
          <a:noFill/>
        </p:spPr>
      </p:pic>
    </p:spTree>
    <p:extLst>
      <p:ext uri="{BB962C8B-B14F-4D97-AF65-F5344CB8AC3E}">
        <p14:creationId xmlns:p14="http://schemas.microsoft.com/office/powerpoint/2010/main" val="40013229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 descr="Ein Bild, das Gras, draußen, Luftfotografie, Baum enthält.&#10;&#10;KI-generierte Inhalte können fehlerhaft sein.">
            <a:extLst>
              <a:ext uri="{FF2B5EF4-FFF2-40B4-BE49-F238E27FC236}">
                <a16:creationId xmlns:a16="http://schemas.microsoft.com/office/drawing/2014/main" id="{7AB2A37C-FB68-4F59-EAA6-DB2636D20DE0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09" r="18309"/>
          <a:stretch>
            <a:fillRect/>
          </a:stretch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2F0EF166-9FC3-E4D5-EB74-7A7E44BB6A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künftige Rolle von </a:t>
            </a:r>
            <a:r>
              <a:rPr lang="de-DE" dirty="0" err="1"/>
              <a:t>MufuS</a:t>
            </a:r>
            <a:r>
              <a:rPr lang="de-DE" dirty="0"/>
              <a:t> für Flex-Biogas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D34C214-A9D5-F5CF-161D-74972C855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D6F1818-C71D-AA79-8F6E-3072EAD509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0A94D1A7-9850-6D0F-5820-D8EA78DA2FE4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lvl="2"/>
            <a:r>
              <a:rPr lang="en-GB" sz="2200" dirty="0"/>
              <a:t>Substrate </a:t>
            </a:r>
            <a:r>
              <a:rPr lang="en-GB" sz="2200" dirty="0" err="1"/>
              <a:t>mit</a:t>
            </a:r>
            <a:r>
              <a:rPr lang="en-GB" sz="2200" dirty="0"/>
              <a:t> </a:t>
            </a:r>
            <a:r>
              <a:rPr lang="en-GB" sz="2200" dirty="0" err="1"/>
              <a:t>niedriger</a:t>
            </a:r>
            <a:r>
              <a:rPr lang="en-GB" sz="2200" dirty="0"/>
              <a:t> </a:t>
            </a:r>
            <a:r>
              <a:rPr lang="en-GB" sz="2200" dirty="0" err="1"/>
              <a:t>Gasausbeute</a:t>
            </a:r>
            <a:r>
              <a:rPr lang="en-GB" sz="2200" dirty="0"/>
              <a:t> </a:t>
            </a:r>
            <a:r>
              <a:rPr lang="en-GB" sz="2200" dirty="0" err="1"/>
              <a:t>außerhalb</a:t>
            </a:r>
            <a:r>
              <a:rPr lang="en-GB" sz="2200" dirty="0"/>
              <a:t> der </a:t>
            </a:r>
            <a:r>
              <a:rPr lang="en-GB" sz="2200" dirty="0" err="1"/>
              <a:t>Heizperiode</a:t>
            </a:r>
            <a:r>
              <a:rPr lang="en-GB" sz="2200" dirty="0"/>
              <a:t>, </a:t>
            </a:r>
            <a:r>
              <a:rPr lang="en-GB" sz="2200" dirty="0" err="1"/>
              <a:t>z.B.</a:t>
            </a:r>
            <a:r>
              <a:rPr lang="en-GB" sz="2200" dirty="0"/>
              <a:t>: </a:t>
            </a:r>
          </a:p>
          <a:p>
            <a:pPr lvl="3"/>
            <a:r>
              <a:rPr lang="en-GB" sz="2200" dirty="0" err="1"/>
              <a:t>Mehrjährige</a:t>
            </a:r>
            <a:r>
              <a:rPr lang="en-GB" sz="2200" dirty="0"/>
              <a:t> </a:t>
            </a:r>
            <a:r>
              <a:rPr lang="en-GB" sz="2200" dirty="0" err="1"/>
              <a:t>Wildpflanzengemenge</a:t>
            </a:r>
            <a:r>
              <a:rPr lang="en-GB" sz="2200" dirty="0"/>
              <a:t>,</a:t>
            </a:r>
          </a:p>
          <a:p>
            <a:pPr lvl="3"/>
            <a:r>
              <a:rPr lang="en-GB" sz="2200" dirty="0" err="1"/>
              <a:t>Aufwuchs</a:t>
            </a:r>
            <a:r>
              <a:rPr lang="en-GB" sz="2200" dirty="0"/>
              <a:t> </a:t>
            </a:r>
            <a:r>
              <a:rPr lang="en-GB" sz="2200" dirty="0" err="1"/>
              <a:t>extensives</a:t>
            </a:r>
            <a:r>
              <a:rPr lang="en-GB" sz="2200" dirty="0"/>
              <a:t> </a:t>
            </a:r>
            <a:r>
              <a:rPr lang="en-GB" sz="2200" dirty="0" err="1"/>
              <a:t>Grünland</a:t>
            </a:r>
            <a:r>
              <a:rPr lang="en-GB" sz="2200" dirty="0"/>
              <a:t>.</a:t>
            </a:r>
          </a:p>
          <a:p>
            <a:pPr lvl="2"/>
            <a:r>
              <a:rPr lang="en-GB" sz="2200" dirty="0" err="1"/>
              <a:t>Energiereiche</a:t>
            </a:r>
            <a:r>
              <a:rPr lang="en-GB" sz="2200" dirty="0"/>
              <a:t> Substrate in der </a:t>
            </a:r>
            <a:r>
              <a:rPr lang="en-GB" sz="2200" dirty="0" err="1"/>
              <a:t>Heizperiode</a:t>
            </a:r>
            <a:r>
              <a:rPr lang="en-GB" sz="2200" dirty="0"/>
              <a:t>, </a:t>
            </a:r>
            <a:r>
              <a:rPr lang="en-GB" sz="2200" dirty="0" err="1"/>
              <a:t>z.B.</a:t>
            </a:r>
            <a:r>
              <a:rPr lang="en-GB" sz="2200" dirty="0"/>
              <a:t>: </a:t>
            </a:r>
          </a:p>
          <a:p>
            <a:pPr lvl="3"/>
            <a:r>
              <a:rPr lang="en-GB" sz="2200" dirty="0" err="1"/>
              <a:t>Silphie</a:t>
            </a:r>
            <a:r>
              <a:rPr lang="en-GB" sz="2200" dirty="0"/>
              <a:t>,</a:t>
            </a:r>
          </a:p>
          <a:p>
            <a:pPr lvl="3"/>
            <a:r>
              <a:rPr lang="en-GB" sz="2200" dirty="0" err="1"/>
              <a:t>Zweitfrüchte</a:t>
            </a:r>
            <a:r>
              <a:rPr lang="en-GB" sz="2200" dirty="0"/>
              <a:t>,</a:t>
            </a:r>
          </a:p>
          <a:p>
            <a:pPr lvl="3"/>
            <a:r>
              <a:rPr lang="en-GB" sz="2200" dirty="0"/>
              <a:t>Stroh,</a:t>
            </a:r>
          </a:p>
          <a:p>
            <a:pPr lvl="3"/>
            <a:r>
              <a:rPr lang="en-GB" sz="2200" dirty="0"/>
              <a:t>Mais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42190C9-049B-87C0-8C66-AA24A51B2875}"/>
              </a:ext>
            </a:extLst>
          </p:cNvPr>
          <p:cNvSpPr txBox="1"/>
          <p:nvPr/>
        </p:nvSpPr>
        <p:spPr>
          <a:xfrm>
            <a:off x="479425" y="6189132"/>
            <a:ext cx="55715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/>
              <a:t>https://energethik-ingenieure.de/wp-content/uploads/2020/01/DJI_0013-min.jpg</a:t>
            </a:r>
          </a:p>
        </p:txBody>
      </p:sp>
    </p:spTree>
    <p:extLst>
      <p:ext uri="{BB962C8B-B14F-4D97-AF65-F5344CB8AC3E}">
        <p14:creationId xmlns:p14="http://schemas.microsoft.com/office/powerpoint/2010/main" val="16192545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B9042B-F7F7-137A-5AB7-701C2807A3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meinwohlleistungen</a:t>
            </a:r>
            <a:r>
              <a:rPr lang="de-DE" baseline="0" dirty="0"/>
              <a:t> der </a:t>
            </a:r>
            <a:r>
              <a:rPr lang="de-DE" baseline="0" dirty="0" err="1"/>
              <a:t>MufuS</a:t>
            </a:r>
            <a:r>
              <a:rPr lang="de-DE" baseline="0" dirty="0"/>
              <a:t> entlohnen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092BFCE-5461-D138-6D06-E6EAE46B13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2"/>
            <a:r>
              <a:rPr lang="de-DE" sz="2200" dirty="0"/>
              <a:t>Über Agrarumweltmaßnahmen</a:t>
            </a:r>
          </a:p>
          <a:p>
            <a:pPr lvl="3"/>
            <a:r>
              <a:rPr lang="de-DE" sz="2200" dirty="0"/>
              <a:t>Aufnehmen in GAK-Rahmenplan </a:t>
            </a:r>
          </a:p>
          <a:p>
            <a:pPr lvl="3"/>
            <a:r>
              <a:rPr lang="de-DE" sz="2200" dirty="0"/>
              <a:t>RL Mehrjähriger Wildpflanzenbau (</a:t>
            </a:r>
            <a:r>
              <a:rPr lang="de-DE" sz="2200" dirty="0" err="1"/>
              <a:t>Nds</a:t>
            </a:r>
            <a:r>
              <a:rPr lang="de-DE" sz="2200" dirty="0"/>
              <a:t>.) war ein guter Anfang</a:t>
            </a:r>
          </a:p>
          <a:p>
            <a:pPr lvl="2"/>
            <a:r>
              <a:rPr lang="de-DE" sz="2200" dirty="0" err="1"/>
              <a:t>Win-Win</a:t>
            </a:r>
            <a:r>
              <a:rPr lang="de-DE" sz="2200" dirty="0"/>
              <a:t> für Gesellschaft und Anlagenbetreiber</a:t>
            </a:r>
          </a:p>
          <a:p>
            <a:pPr lvl="3"/>
            <a:r>
              <a:rPr lang="de-DE" sz="2200" dirty="0"/>
              <a:t>Günstige Substrate</a:t>
            </a:r>
          </a:p>
          <a:p>
            <a:pPr lvl="3"/>
            <a:r>
              <a:rPr lang="de-DE" sz="2200" dirty="0"/>
              <a:t>Biodiversitätsmaßnahmen günstiger als ohne Nutzung</a:t>
            </a:r>
          </a:p>
          <a:p>
            <a:pPr lvl="3"/>
            <a:r>
              <a:rPr lang="de-DE" sz="2200" dirty="0"/>
              <a:t>Akzeptanz ökologischer Maßnahmen besser mit Nutzung des Aufwuchses</a:t>
            </a:r>
          </a:p>
          <a:p>
            <a:pPr lvl="2"/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03324AE-AC9C-7EB8-3441-4CB782BC98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C5B407B-1508-80D0-9CE3-116448A493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80393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deck">
  <a:themeElements>
    <a:clrScheme name="Agora Agrar">
      <a:dk1>
        <a:sysClr val="windowText" lastClr="000000"/>
      </a:dk1>
      <a:lt1>
        <a:sysClr val="window" lastClr="FFFFFF"/>
      </a:lt1>
      <a:dk2>
        <a:srgbClr val="CC9900"/>
      </a:dk2>
      <a:lt2>
        <a:srgbClr val="F8F8F8"/>
      </a:lt2>
      <a:accent1>
        <a:srgbClr val="CC9900"/>
      </a:accent1>
      <a:accent2>
        <a:srgbClr val="8393BE"/>
      </a:accent2>
      <a:accent3>
        <a:srgbClr val="45A535"/>
      </a:accent3>
      <a:accent4>
        <a:srgbClr val="AD86B0"/>
      </a:accent4>
      <a:accent5>
        <a:srgbClr val="5E4745"/>
      </a:accent5>
      <a:accent6>
        <a:srgbClr val="637596"/>
      </a:accent6>
      <a:hlink>
        <a:srgbClr val="5C5C5C"/>
      </a:hlink>
      <a:folHlink>
        <a:srgbClr val="5C5C5C"/>
      </a:folHlink>
    </a:clrScheme>
    <a:fontScheme name="Agor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dirty="0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-Agrar-DE_PPT-template.potx" id="{1D61FB4D-85DC-4AB0-93A0-4BC198E0EFA9}" vid="{A20D8EE2-66E6-48BC-BDA1-C7DE8B120EB1}"/>
    </a:ext>
  </a:extLst>
</a:theme>
</file>

<file path=ppt/theme/theme2.xml><?xml version="1.0" encoding="utf-8"?>
<a:theme xmlns:a="http://schemas.openxmlformats.org/drawingml/2006/main" name="Presentation">
  <a:themeElements>
    <a:clrScheme name="Agora Agrar">
      <a:dk1>
        <a:sysClr val="windowText" lastClr="000000"/>
      </a:dk1>
      <a:lt1>
        <a:sysClr val="window" lastClr="FFFFFF"/>
      </a:lt1>
      <a:dk2>
        <a:srgbClr val="CC9900"/>
      </a:dk2>
      <a:lt2>
        <a:srgbClr val="F8F8F8"/>
      </a:lt2>
      <a:accent1>
        <a:srgbClr val="CC9900"/>
      </a:accent1>
      <a:accent2>
        <a:srgbClr val="006057"/>
      </a:accent2>
      <a:accent3>
        <a:srgbClr val="AD86B0"/>
      </a:accent3>
      <a:accent4>
        <a:srgbClr val="A6572E"/>
      </a:accent4>
      <a:accent5>
        <a:srgbClr val="2D86A1"/>
      </a:accent5>
      <a:accent6>
        <a:srgbClr val="5C2F6C"/>
      </a:accent6>
      <a:hlink>
        <a:srgbClr val="5C5C5C"/>
      </a:hlink>
      <a:folHlink>
        <a:srgbClr val="5C5C5C"/>
      </a:folHlink>
    </a:clrScheme>
    <a:fontScheme name="Agor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-Agrar-DE_PPT-template.potx" id="{1D61FB4D-85DC-4AB0-93A0-4BC198E0EFA9}" vid="{7FB78531-8B2C-44A5-8716-A94C706C970B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B011658388213429FA55D7D29A96084" ma:contentTypeVersion="15" ma:contentTypeDescription="Ein neues Dokument erstellen." ma:contentTypeScope="" ma:versionID="8604e392d135821d0ecaee18895d52fb">
  <xsd:schema xmlns:xsd="http://www.w3.org/2001/XMLSchema" xmlns:xs="http://www.w3.org/2001/XMLSchema" xmlns:p="http://schemas.microsoft.com/office/2006/metadata/properties" xmlns:ns2="2cd5dc80-1f8c-40e8-ab38-e9aaa174fd04" xmlns:ns3="cfbabe9a-0ab3-4b84-8d73-9f05c49a697e" targetNamespace="http://schemas.microsoft.com/office/2006/metadata/properties" ma:root="true" ma:fieldsID="5bd1d7d3cc083a967688976283305b38" ns2:_="" ns3:_="">
    <xsd:import namespace="2cd5dc80-1f8c-40e8-ab38-e9aaa174fd04"/>
    <xsd:import namespace="cfbabe9a-0ab3-4b84-8d73-9f05c49a69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BillingMetadata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d5dc80-1f8c-40e8-ab38-e9aaa174fd0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805263ee-82d5-4f77-a1b4-e5495a005cc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babe9a-0ab3-4b84-8d73-9f05c49a697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374d70e9-833c-4e50-afaf-ea3fa7f262e4}" ma:internalName="TaxCatchAll" ma:showField="CatchAllData" ma:web="cfbabe9a-0ab3-4b84-8d73-9f05c49a697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cd5dc80-1f8c-40e8-ab38-e9aaa174fd04">
      <Terms xmlns="http://schemas.microsoft.com/office/infopath/2007/PartnerControls"/>
    </lcf76f155ced4ddcb4097134ff3c332f>
    <TaxCatchAll xmlns="cfbabe9a-0ab3-4b84-8d73-9f05c49a697e" xsi:nil="true"/>
  </documentManagement>
</p:properties>
</file>

<file path=customXml/itemProps1.xml><?xml version="1.0" encoding="utf-8"?>
<ds:datastoreItem xmlns:ds="http://schemas.openxmlformats.org/officeDocument/2006/customXml" ds:itemID="{5072B8A5-5F05-4165-A754-C2F0C8C6120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cd5dc80-1f8c-40e8-ab38-e9aaa174fd04"/>
    <ds:schemaRef ds:uri="cfbabe9a-0ab3-4b84-8d73-9f05c49a69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EDE2FA4-BA38-4D49-B0ED-C0CD5E5BCC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CC973F3-2045-4096-BE06-1E78B81FB83D}">
  <ds:schemaRefs>
    <ds:schemaRef ds:uri="http://schemas.microsoft.com/office/2006/metadata/properties"/>
    <ds:schemaRef ds:uri="http://schemas.microsoft.com/office/infopath/2007/PartnerControls"/>
    <ds:schemaRef ds:uri="2cd5dc80-1f8c-40e8-ab38-e9aaa174fd04"/>
    <ds:schemaRef ds:uri="cfbabe9a-0ab3-4b84-8d73-9f05c49a697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-Agrar-DE_PPT-template</Template>
  <TotalTime>0</TotalTime>
  <Words>158</Words>
  <Application>Microsoft Office PowerPoint</Application>
  <PresentationFormat>Breitbild</PresentationFormat>
  <Paragraphs>40</Paragraphs>
  <Slides>4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1" baseType="lpstr">
      <vt:lpstr>Aptos</vt:lpstr>
      <vt:lpstr>Arial</vt:lpstr>
      <vt:lpstr>Calibri</vt:lpstr>
      <vt:lpstr>Symbol</vt:lpstr>
      <vt:lpstr>Slide deck</vt:lpstr>
      <vt:lpstr>Presentation</vt:lpstr>
      <vt:lpstr>think-cell Folie</vt:lpstr>
      <vt:lpstr>Potential der Bioenergie</vt:lpstr>
      <vt:lpstr>Technisches Biomassepotenzial aus Multifunktionalen Substraten (MufuS)</vt:lpstr>
      <vt:lpstr>Zukünftige Rolle von MufuS für Flex-Biogas</vt:lpstr>
      <vt:lpstr>Gemeinwohlleistungen der MufuS entlohnen</vt:lpstr>
    </vt:vector>
  </TitlesOfParts>
  <Company>Agora Energiewende g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om Hollander</dc:creator>
  <cp:lastModifiedBy>Tom Hollander</cp:lastModifiedBy>
  <cp:revision>2</cp:revision>
  <dcterms:created xsi:type="dcterms:W3CDTF">2026-02-19T11:01:29Z</dcterms:created>
  <dcterms:modified xsi:type="dcterms:W3CDTF">2026-05-28T06:17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B011658388213429FA55D7D29A96084</vt:lpwstr>
  </property>
  <property fmtid="{D5CDD505-2E9C-101B-9397-08002B2CF9AE}" pid="3" name="MediaServiceImageTags">
    <vt:lpwstr/>
  </property>
</Properties>
</file>